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93" r:id="rId2"/>
    <p:sldId id="357" r:id="rId3"/>
    <p:sldId id="380" r:id="rId4"/>
    <p:sldId id="381" r:id="rId5"/>
    <p:sldId id="1448" r:id="rId6"/>
    <p:sldId id="373" r:id="rId7"/>
    <p:sldId id="1449" r:id="rId8"/>
    <p:sldId id="375" r:id="rId9"/>
    <p:sldId id="409" r:id="rId10"/>
    <p:sldId id="376" r:id="rId11"/>
    <p:sldId id="377" r:id="rId12"/>
    <p:sldId id="378" r:id="rId13"/>
    <p:sldId id="366" r:id="rId14"/>
  </p:sldIdLst>
  <p:sldSz cx="9144000" cy="6858000" type="letter"/>
  <p:notesSz cx="7019925" cy="9305925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539A"/>
    <a:srgbClr val="F89A31"/>
    <a:srgbClr val="DC1960"/>
    <a:srgbClr val="323232"/>
    <a:srgbClr val="0000FF"/>
    <a:srgbClr val="B6B6B6"/>
    <a:srgbClr val="8AC542"/>
    <a:srgbClr val="4684BC"/>
    <a:srgbClr val="0459A8"/>
    <a:srgbClr val="E9F0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016" autoAdjust="0"/>
    <p:restoredTop sz="95343" autoAdjust="0"/>
  </p:normalViewPr>
  <p:slideViewPr>
    <p:cSldViewPr>
      <p:cViewPr varScale="1">
        <p:scale>
          <a:sx n="146" d="100"/>
          <a:sy n="146" d="100"/>
        </p:scale>
        <p:origin x="2946" y="1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2964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62CFF7-38BE-4C3F-A8F6-30E5D812B3CE}" type="doc">
      <dgm:prSet loTypeId="urn:microsoft.com/office/officeart/2005/8/layout/default" loCatId="list" qsTypeId="urn:microsoft.com/office/officeart/2005/8/quickstyle/simple5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B50610F2-6E81-49C2-8142-4EF15B019EC3}">
      <dgm:prSet phldrT="[Text]"/>
      <dgm:spPr/>
      <dgm:t>
        <a:bodyPr/>
        <a:lstStyle/>
        <a:p>
          <a:r>
            <a:rPr lang="en-US" dirty="0"/>
            <a:t>Customer Service Centers</a:t>
          </a:r>
        </a:p>
      </dgm:t>
    </dgm:pt>
    <dgm:pt modelId="{B1F4017D-AEE7-452A-ADAB-3E3D1F9815E0}" type="parTrans" cxnId="{D558050D-FD05-432A-BDDD-6B035134CBE6}">
      <dgm:prSet/>
      <dgm:spPr/>
      <dgm:t>
        <a:bodyPr/>
        <a:lstStyle/>
        <a:p>
          <a:endParaRPr lang="en-US"/>
        </a:p>
      </dgm:t>
    </dgm:pt>
    <dgm:pt modelId="{5C9AC0DD-B29E-40DD-8A78-D1B81D90183A}" type="sibTrans" cxnId="{D558050D-FD05-432A-BDDD-6B035134CBE6}">
      <dgm:prSet/>
      <dgm:spPr/>
      <dgm:t>
        <a:bodyPr/>
        <a:lstStyle/>
        <a:p>
          <a:endParaRPr lang="en-US"/>
        </a:p>
      </dgm:t>
    </dgm:pt>
    <dgm:pt modelId="{EC8A6097-EC19-4049-8366-D11717053776}">
      <dgm:prSet phldrT="[Text]"/>
      <dgm:spPr/>
      <dgm:t>
        <a:bodyPr/>
        <a:lstStyle/>
        <a:p>
          <a:r>
            <a:rPr lang="en-US" dirty="0"/>
            <a:t>Reservations Centers</a:t>
          </a:r>
        </a:p>
      </dgm:t>
    </dgm:pt>
    <dgm:pt modelId="{9C250C80-6992-419B-8144-4CE71535FFA7}" type="parTrans" cxnId="{07F449E2-DBEA-452F-B7B4-2F6EB4837777}">
      <dgm:prSet/>
      <dgm:spPr/>
      <dgm:t>
        <a:bodyPr/>
        <a:lstStyle/>
        <a:p>
          <a:endParaRPr lang="en-US"/>
        </a:p>
      </dgm:t>
    </dgm:pt>
    <dgm:pt modelId="{17CBEC65-1845-4553-8561-4AED4D02EC39}" type="sibTrans" cxnId="{07F449E2-DBEA-452F-B7B4-2F6EB4837777}">
      <dgm:prSet/>
      <dgm:spPr/>
      <dgm:t>
        <a:bodyPr/>
        <a:lstStyle/>
        <a:p>
          <a:endParaRPr lang="en-US"/>
        </a:p>
      </dgm:t>
    </dgm:pt>
    <dgm:pt modelId="{F2DA2F57-9B70-4355-8AC3-D371F280A310}">
      <dgm:prSet phldrT="[Text]"/>
      <dgm:spPr/>
      <dgm:t>
        <a:bodyPr/>
        <a:lstStyle/>
        <a:p>
          <a:r>
            <a:rPr lang="en-US" dirty="0"/>
            <a:t>Help Desks</a:t>
          </a:r>
        </a:p>
      </dgm:t>
    </dgm:pt>
    <dgm:pt modelId="{2F9E3C76-CB57-4A7E-B4AF-85ECE95F43C9}" type="parTrans" cxnId="{96AC56C7-2B0D-4CF5-9278-9BB0198F3292}">
      <dgm:prSet/>
      <dgm:spPr/>
      <dgm:t>
        <a:bodyPr/>
        <a:lstStyle/>
        <a:p>
          <a:endParaRPr lang="en-US"/>
        </a:p>
      </dgm:t>
    </dgm:pt>
    <dgm:pt modelId="{7FC8186F-F23F-4498-AB10-766C14DACB31}" type="sibTrans" cxnId="{96AC56C7-2B0D-4CF5-9278-9BB0198F3292}">
      <dgm:prSet/>
      <dgm:spPr/>
      <dgm:t>
        <a:bodyPr/>
        <a:lstStyle/>
        <a:p>
          <a:endParaRPr lang="en-US"/>
        </a:p>
      </dgm:t>
    </dgm:pt>
    <dgm:pt modelId="{FB40E803-7B65-4485-AC13-511E0E7F897D}">
      <dgm:prSet phldrT="[Text]"/>
      <dgm:spPr/>
      <dgm:t>
        <a:bodyPr/>
        <a:lstStyle/>
        <a:p>
          <a:r>
            <a:rPr lang="en-US" dirty="0"/>
            <a:t>Consulting and Technical Support</a:t>
          </a:r>
        </a:p>
      </dgm:t>
    </dgm:pt>
    <dgm:pt modelId="{FE8F878B-E32D-4EBA-B546-32310CDDB05D}" type="parTrans" cxnId="{114A9EE7-1DB8-409D-BBCC-650D8C94D0A2}">
      <dgm:prSet/>
      <dgm:spPr/>
      <dgm:t>
        <a:bodyPr/>
        <a:lstStyle/>
        <a:p>
          <a:endParaRPr lang="en-US"/>
        </a:p>
      </dgm:t>
    </dgm:pt>
    <dgm:pt modelId="{5CCAB63A-BC1E-41A8-9182-BD937A4DFA01}" type="sibTrans" cxnId="{114A9EE7-1DB8-409D-BBCC-650D8C94D0A2}">
      <dgm:prSet/>
      <dgm:spPr/>
      <dgm:t>
        <a:bodyPr/>
        <a:lstStyle/>
        <a:p>
          <a:endParaRPr lang="en-US"/>
        </a:p>
      </dgm:t>
    </dgm:pt>
    <dgm:pt modelId="{08B6DF74-6DE6-4FD7-9AE4-F69E1AB88F96}">
      <dgm:prSet phldrT="[Text]"/>
      <dgm:spPr/>
      <dgm:t>
        <a:bodyPr/>
        <a:lstStyle/>
        <a:p>
          <a:r>
            <a:rPr lang="en-US" dirty="0"/>
            <a:t>Order Processing</a:t>
          </a:r>
        </a:p>
      </dgm:t>
    </dgm:pt>
    <dgm:pt modelId="{CDCC27FE-27BF-4990-BFE2-2D8CE2887A2E}" type="parTrans" cxnId="{00BA3A43-A428-4094-AFAC-958950B07D3F}">
      <dgm:prSet/>
      <dgm:spPr/>
      <dgm:t>
        <a:bodyPr/>
        <a:lstStyle/>
        <a:p>
          <a:endParaRPr lang="en-US"/>
        </a:p>
      </dgm:t>
    </dgm:pt>
    <dgm:pt modelId="{459ACA5D-951F-4140-9702-A54165692471}" type="sibTrans" cxnId="{00BA3A43-A428-4094-AFAC-958950B07D3F}">
      <dgm:prSet/>
      <dgm:spPr/>
      <dgm:t>
        <a:bodyPr/>
        <a:lstStyle/>
        <a:p>
          <a:endParaRPr lang="en-US"/>
        </a:p>
      </dgm:t>
    </dgm:pt>
    <dgm:pt modelId="{24B7470E-FD35-4CED-956C-3C66D950DB6F}" type="pres">
      <dgm:prSet presAssocID="{F262CFF7-38BE-4C3F-A8F6-30E5D812B3CE}" presName="diagram" presStyleCnt="0">
        <dgm:presLayoutVars>
          <dgm:dir/>
          <dgm:resizeHandles val="exact"/>
        </dgm:presLayoutVars>
      </dgm:prSet>
      <dgm:spPr/>
    </dgm:pt>
    <dgm:pt modelId="{119A02F9-57E4-43B6-9559-FD6F632949CB}" type="pres">
      <dgm:prSet presAssocID="{B50610F2-6E81-49C2-8142-4EF15B019EC3}" presName="node" presStyleLbl="node1" presStyleIdx="0" presStyleCnt="5" custLinFactY="100000" custLinFactNeighborX="-57950" custLinFactNeighborY="133496">
        <dgm:presLayoutVars>
          <dgm:bulletEnabled val="1"/>
        </dgm:presLayoutVars>
      </dgm:prSet>
      <dgm:spPr>
        <a:prstGeom prst="roundRect">
          <a:avLst/>
        </a:prstGeom>
      </dgm:spPr>
    </dgm:pt>
    <dgm:pt modelId="{3AC04212-14F5-478D-BBED-8528DF28FFB8}" type="pres">
      <dgm:prSet presAssocID="{5C9AC0DD-B29E-40DD-8A78-D1B81D90183A}" presName="sibTrans" presStyleCnt="0"/>
      <dgm:spPr/>
    </dgm:pt>
    <dgm:pt modelId="{7138A86C-F5AB-4354-ADA8-7A3FEFEE65A1}" type="pres">
      <dgm:prSet presAssocID="{EC8A6097-EC19-4049-8366-D11717053776}" presName="node" presStyleLbl="node1" presStyleIdx="1" presStyleCnt="5" custLinFactNeighborX="-48419" custLinFactNeighborY="44608">
        <dgm:presLayoutVars>
          <dgm:bulletEnabled val="1"/>
        </dgm:presLayoutVars>
      </dgm:prSet>
      <dgm:spPr>
        <a:prstGeom prst="roundRect">
          <a:avLst/>
        </a:prstGeom>
      </dgm:spPr>
    </dgm:pt>
    <dgm:pt modelId="{32E2B256-E73F-43C9-9DC0-E912809B7224}" type="pres">
      <dgm:prSet presAssocID="{17CBEC65-1845-4553-8561-4AED4D02EC39}" presName="sibTrans" presStyleCnt="0"/>
      <dgm:spPr/>
    </dgm:pt>
    <dgm:pt modelId="{72E2FC73-2F05-4DAB-AF4C-E0DEFE014D56}" type="pres">
      <dgm:prSet presAssocID="{F2DA2F57-9B70-4355-8AC3-D371F280A310}" presName="node" presStyleLbl="node1" presStyleIdx="2" presStyleCnt="5" custLinFactNeighborX="-49181" custLinFactNeighborY="44834">
        <dgm:presLayoutVars>
          <dgm:bulletEnabled val="1"/>
        </dgm:presLayoutVars>
      </dgm:prSet>
      <dgm:spPr>
        <a:prstGeom prst="roundRect">
          <a:avLst/>
        </a:prstGeom>
      </dgm:spPr>
    </dgm:pt>
    <dgm:pt modelId="{D8E30C6F-2D4A-496B-A587-3DBED8954BD5}" type="pres">
      <dgm:prSet presAssocID="{7FC8186F-F23F-4498-AB10-766C14DACB31}" presName="sibTrans" presStyleCnt="0"/>
      <dgm:spPr/>
    </dgm:pt>
    <dgm:pt modelId="{8C70D9E0-1304-4161-B3E0-D2A1C515651B}" type="pres">
      <dgm:prSet presAssocID="{FB40E803-7B65-4485-AC13-511E0E7F897D}" presName="node" presStyleLbl="node1" presStyleIdx="3" presStyleCnt="5" custLinFactNeighborX="56190" custLinFactNeighborY="47732">
        <dgm:presLayoutVars>
          <dgm:bulletEnabled val="1"/>
        </dgm:presLayoutVars>
      </dgm:prSet>
      <dgm:spPr>
        <a:prstGeom prst="roundRect">
          <a:avLst/>
        </a:prstGeom>
      </dgm:spPr>
    </dgm:pt>
    <dgm:pt modelId="{219739E3-01B3-40CF-AA29-1E5333315047}" type="pres">
      <dgm:prSet presAssocID="{5CCAB63A-BC1E-41A8-9182-BD937A4DFA01}" presName="sibTrans" presStyleCnt="0"/>
      <dgm:spPr/>
    </dgm:pt>
    <dgm:pt modelId="{3DF8C782-4DBE-4DC8-BA08-AE98B9280A15}" type="pres">
      <dgm:prSet presAssocID="{08B6DF74-6DE6-4FD7-9AE4-F69E1AB88F96}" presName="node" presStyleLbl="node1" presStyleIdx="4" presStyleCnt="5" custLinFactNeighborX="56830" custLinFactNeighborY="47732">
        <dgm:presLayoutVars>
          <dgm:bulletEnabled val="1"/>
        </dgm:presLayoutVars>
      </dgm:prSet>
      <dgm:spPr>
        <a:prstGeom prst="roundRect">
          <a:avLst/>
        </a:prstGeom>
      </dgm:spPr>
    </dgm:pt>
  </dgm:ptLst>
  <dgm:cxnLst>
    <dgm:cxn modelId="{D558050D-FD05-432A-BDDD-6B035134CBE6}" srcId="{F262CFF7-38BE-4C3F-A8F6-30E5D812B3CE}" destId="{B50610F2-6E81-49C2-8142-4EF15B019EC3}" srcOrd="0" destOrd="0" parTransId="{B1F4017D-AEE7-452A-ADAB-3E3D1F9815E0}" sibTransId="{5C9AC0DD-B29E-40DD-8A78-D1B81D90183A}"/>
    <dgm:cxn modelId="{47E03A0F-2E81-4B11-8C8F-86584F62642D}" type="presOf" srcId="{EC8A6097-EC19-4049-8366-D11717053776}" destId="{7138A86C-F5AB-4354-ADA8-7A3FEFEE65A1}" srcOrd="0" destOrd="0" presId="urn:microsoft.com/office/officeart/2005/8/layout/default"/>
    <dgm:cxn modelId="{3B02DF23-AB8A-41E8-A96F-9404A33F97DF}" type="presOf" srcId="{08B6DF74-6DE6-4FD7-9AE4-F69E1AB88F96}" destId="{3DF8C782-4DBE-4DC8-BA08-AE98B9280A15}" srcOrd="0" destOrd="0" presId="urn:microsoft.com/office/officeart/2005/8/layout/default"/>
    <dgm:cxn modelId="{4BF2A95E-CF2D-44B4-835E-68F561A2C20E}" type="presOf" srcId="{F262CFF7-38BE-4C3F-A8F6-30E5D812B3CE}" destId="{24B7470E-FD35-4CED-956C-3C66D950DB6F}" srcOrd="0" destOrd="0" presId="urn:microsoft.com/office/officeart/2005/8/layout/default"/>
    <dgm:cxn modelId="{00BA3A43-A428-4094-AFAC-958950B07D3F}" srcId="{F262CFF7-38BE-4C3F-A8F6-30E5D812B3CE}" destId="{08B6DF74-6DE6-4FD7-9AE4-F69E1AB88F96}" srcOrd="4" destOrd="0" parTransId="{CDCC27FE-27BF-4990-BFE2-2D8CE2887A2E}" sibTransId="{459ACA5D-951F-4140-9702-A54165692471}"/>
    <dgm:cxn modelId="{0401CA99-EA55-4C3D-A8D8-026A52BBCA7C}" type="presOf" srcId="{B50610F2-6E81-49C2-8142-4EF15B019EC3}" destId="{119A02F9-57E4-43B6-9559-FD6F632949CB}" srcOrd="0" destOrd="0" presId="urn:microsoft.com/office/officeart/2005/8/layout/default"/>
    <dgm:cxn modelId="{061C9FA2-AEC8-416A-83FB-F26E17C90E6F}" type="presOf" srcId="{F2DA2F57-9B70-4355-8AC3-D371F280A310}" destId="{72E2FC73-2F05-4DAB-AF4C-E0DEFE014D56}" srcOrd="0" destOrd="0" presId="urn:microsoft.com/office/officeart/2005/8/layout/default"/>
    <dgm:cxn modelId="{0788B1B4-DBE7-4056-B8F5-ECCEDFEE69DA}" type="presOf" srcId="{FB40E803-7B65-4485-AC13-511E0E7F897D}" destId="{8C70D9E0-1304-4161-B3E0-D2A1C515651B}" srcOrd="0" destOrd="0" presId="urn:microsoft.com/office/officeart/2005/8/layout/default"/>
    <dgm:cxn modelId="{96AC56C7-2B0D-4CF5-9278-9BB0198F3292}" srcId="{F262CFF7-38BE-4C3F-A8F6-30E5D812B3CE}" destId="{F2DA2F57-9B70-4355-8AC3-D371F280A310}" srcOrd="2" destOrd="0" parTransId="{2F9E3C76-CB57-4A7E-B4AF-85ECE95F43C9}" sibTransId="{7FC8186F-F23F-4498-AB10-766C14DACB31}"/>
    <dgm:cxn modelId="{07F449E2-DBEA-452F-B7B4-2F6EB4837777}" srcId="{F262CFF7-38BE-4C3F-A8F6-30E5D812B3CE}" destId="{EC8A6097-EC19-4049-8366-D11717053776}" srcOrd="1" destOrd="0" parTransId="{9C250C80-6992-419B-8144-4CE71535FFA7}" sibTransId="{17CBEC65-1845-4553-8561-4AED4D02EC39}"/>
    <dgm:cxn modelId="{114A9EE7-1DB8-409D-BBCC-650D8C94D0A2}" srcId="{F262CFF7-38BE-4C3F-A8F6-30E5D812B3CE}" destId="{FB40E803-7B65-4485-AC13-511E0E7F897D}" srcOrd="3" destOrd="0" parTransId="{FE8F878B-E32D-4EBA-B546-32310CDDB05D}" sibTransId="{5CCAB63A-BC1E-41A8-9182-BD937A4DFA01}"/>
    <dgm:cxn modelId="{9C1566C6-37BF-4001-A6A5-8FF6944AC0A9}" type="presParOf" srcId="{24B7470E-FD35-4CED-956C-3C66D950DB6F}" destId="{119A02F9-57E4-43B6-9559-FD6F632949CB}" srcOrd="0" destOrd="0" presId="urn:microsoft.com/office/officeart/2005/8/layout/default"/>
    <dgm:cxn modelId="{C5D6FFDA-3EC6-464F-A6E5-A2A0BD508760}" type="presParOf" srcId="{24B7470E-FD35-4CED-956C-3C66D950DB6F}" destId="{3AC04212-14F5-478D-BBED-8528DF28FFB8}" srcOrd="1" destOrd="0" presId="urn:microsoft.com/office/officeart/2005/8/layout/default"/>
    <dgm:cxn modelId="{DF5D7543-58FC-417A-990B-C26A49CD8B2A}" type="presParOf" srcId="{24B7470E-FD35-4CED-956C-3C66D950DB6F}" destId="{7138A86C-F5AB-4354-ADA8-7A3FEFEE65A1}" srcOrd="2" destOrd="0" presId="urn:microsoft.com/office/officeart/2005/8/layout/default"/>
    <dgm:cxn modelId="{C5F1280A-A04C-4AF2-96F3-CBC495132BF1}" type="presParOf" srcId="{24B7470E-FD35-4CED-956C-3C66D950DB6F}" destId="{32E2B256-E73F-43C9-9DC0-E912809B7224}" srcOrd="3" destOrd="0" presId="urn:microsoft.com/office/officeart/2005/8/layout/default"/>
    <dgm:cxn modelId="{37546135-55FA-4EFD-BCA8-A027F0C261AB}" type="presParOf" srcId="{24B7470E-FD35-4CED-956C-3C66D950DB6F}" destId="{72E2FC73-2F05-4DAB-AF4C-E0DEFE014D56}" srcOrd="4" destOrd="0" presId="urn:microsoft.com/office/officeart/2005/8/layout/default"/>
    <dgm:cxn modelId="{70027B25-6D75-4B1A-94A5-A3617674FE78}" type="presParOf" srcId="{24B7470E-FD35-4CED-956C-3C66D950DB6F}" destId="{D8E30C6F-2D4A-496B-A587-3DBED8954BD5}" srcOrd="5" destOrd="0" presId="urn:microsoft.com/office/officeart/2005/8/layout/default"/>
    <dgm:cxn modelId="{08E3094E-9EE3-43C8-90A8-74A08D82B5FB}" type="presParOf" srcId="{24B7470E-FD35-4CED-956C-3C66D950DB6F}" destId="{8C70D9E0-1304-4161-B3E0-D2A1C515651B}" srcOrd="6" destOrd="0" presId="urn:microsoft.com/office/officeart/2005/8/layout/default"/>
    <dgm:cxn modelId="{C39E89DD-5D7F-445C-B2BE-24C0600E42FE}" type="presParOf" srcId="{24B7470E-FD35-4CED-956C-3C66D950DB6F}" destId="{219739E3-01B3-40CF-AA29-1E5333315047}" srcOrd="7" destOrd="0" presId="urn:microsoft.com/office/officeart/2005/8/layout/default"/>
    <dgm:cxn modelId="{10BB418D-8F50-49B5-92FE-EE3690F82D68}" type="presParOf" srcId="{24B7470E-FD35-4CED-956C-3C66D950DB6F}" destId="{3DF8C782-4DBE-4DC8-BA08-AE98B9280A15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9A02F9-57E4-43B6-9559-FD6F632949CB}">
      <dsp:nvSpPr>
        <dsp:cNvPr id="0" name=""/>
        <dsp:cNvSpPr/>
      </dsp:nvSpPr>
      <dsp:spPr>
        <a:xfrm>
          <a:off x="0" y="1731240"/>
          <a:ext cx="1403401" cy="84204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Customer Service Centers</a:t>
          </a:r>
        </a:p>
      </dsp:txBody>
      <dsp:txXfrm>
        <a:off x="41105" y="1772345"/>
        <a:ext cx="1321191" cy="759830"/>
      </dsp:txXfrm>
    </dsp:sp>
    <dsp:sp modelId="{7138A86C-F5AB-4354-ADA8-7A3FEFEE65A1}">
      <dsp:nvSpPr>
        <dsp:cNvPr id="0" name=""/>
        <dsp:cNvSpPr/>
      </dsp:nvSpPr>
      <dsp:spPr>
        <a:xfrm>
          <a:off x="864228" y="750047"/>
          <a:ext cx="1403401" cy="84204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Reservations Centers</a:t>
          </a:r>
        </a:p>
      </dsp:txBody>
      <dsp:txXfrm>
        <a:off x="905333" y="791152"/>
        <a:ext cx="1321191" cy="759830"/>
      </dsp:txXfrm>
    </dsp:sp>
    <dsp:sp modelId="{72E2FC73-2F05-4DAB-AF4C-E0DEFE014D56}">
      <dsp:nvSpPr>
        <dsp:cNvPr id="0" name=""/>
        <dsp:cNvSpPr/>
      </dsp:nvSpPr>
      <dsp:spPr>
        <a:xfrm>
          <a:off x="2397275" y="751950"/>
          <a:ext cx="1403401" cy="84204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Help Desks</a:t>
          </a:r>
        </a:p>
      </dsp:txBody>
      <dsp:txXfrm>
        <a:off x="2438380" y="793055"/>
        <a:ext cx="1321191" cy="759830"/>
      </dsp:txXfrm>
    </dsp:sp>
    <dsp:sp modelId="{8C70D9E0-1304-4161-B3E0-D2A1C515651B}">
      <dsp:nvSpPr>
        <dsp:cNvPr id="0" name=""/>
        <dsp:cNvSpPr/>
      </dsp:nvSpPr>
      <dsp:spPr>
        <a:xfrm>
          <a:off x="1560441" y="1731240"/>
          <a:ext cx="1403401" cy="84204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Consulting and Technical Support</a:t>
          </a:r>
        </a:p>
      </dsp:txBody>
      <dsp:txXfrm>
        <a:off x="1601546" y="1772345"/>
        <a:ext cx="1321191" cy="759830"/>
      </dsp:txXfrm>
    </dsp:sp>
    <dsp:sp modelId="{3DF8C782-4DBE-4DC8-BA08-AE98B9280A15}">
      <dsp:nvSpPr>
        <dsp:cNvPr id="0" name=""/>
        <dsp:cNvSpPr/>
      </dsp:nvSpPr>
      <dsp:spPr>
        <a:xfrm>
          <a:off x="3087482" y="1731240"/>
          <a:ext cx="1403401" cy="84204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Order Processing</a:t>
          </a:r>
        </a:p>
      </dsp:txBody>
      <dsp:txXfrm>
        <a:off x="3128587" y="1772345"/>
        <a:ext cx="1321191" cy="7598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41968" cy="466912"/>
          </a:xfrm>
          <a:prstGeom prst="rect">
            <a:avLst/>
          </a:prstGeom>
        </p:spPr>
        <p:txBody>
          <a:bodyPr vert="horz" lIns="94002" tIns="47002" rIns="94002" bIns="4700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6334" y="1"/>
            <a:ext cx="3041968" cy="466912"/>
          </a:xfrm>
          <a:prstGeom prst="rect">
            <a:avLst/>
          </a:prstGeom>
        </p:spPr>
        <p:txBody>
          <a:bodyPr vert="horz" lIns="94002" tIns="47002" rIns="94002" bIns="47002" rtlCol="0"/>
          <a:lstStyle>
            <a:lvl1pPr algn="r">
              <a:defRPr sz="1300"/>
            </a:lvl1pPr>
          </a:lstStyle>
          <a:p>
            <a:fld id="{3F50B308-8848-4F68-A47D-722546402DE9}" type="datetimeFigureOut">
              <a:rPr lang="en-US" smtClean="0"/>
              <a:t>4/1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9018"/>
            <a:ext cx="3041968" cy="466911"/>
          </a:xfrm>
          <a:prstGeom prst="rect">
            <a:avLst/>
          </a:prstGeom>
        </p:spPr>
        <p:txBody>
          <a:bodyPr vert="horz" lIns="94002" tIns="47002" rIns="94002" bIns="4700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6334" y="8839018"/>
            <a:ext cx="3041968" cy="466911"/>
          </a:xfrm>
          <a:prstGeom prst="rect">
            <a:avLst/>
          </a:prstGeom>
        </p:spPr>
        <p:txBody>
          <a:bodyPr vert="horz" lIns="94002" tIns="47002" rIns="94002" bIns="47002" rtlCol="0" anchor="b"/>
          <a:lstStyle>
            <a:lvl1pPr algn="r">
              <a:defRPr sz="1300"/>
            </a:lvl1pPr>
          </a:lstStyle>
          <a:p>
            <a:fld id="{66689C2C-AFFC-47F9-A254-5E7046D8B5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6193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41968" cy="466912"/>
          </a:xfrm>
          <a:prstGeom prst="rect">
            <a:avLst/>
          </a:prstGeom>
        </p:spPr>
        <p:txBody>
          <a:bodyPr vert="horz" lIns="94002" tIns="47002" rIns="94002" bIns="47002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4" y="1"/>
            <a:ext cx="3041968" cy="466912"/>
          </a:xfrm>
          <a:prstGeom prst="rect">
            <a:avLst/>
          </a:prstGeom>
        </p:spPr>
        <p:txBody>
          <a:bodyPr vert="horz" lIns="94002" tIns="47002" rIns="94002" bIns="47002" rtlCol="0"/>
          <a:lstStyle>
            <a:lvl1pPr algn="r">
              <a:defRPr sz="1300"/>
            </a:lvl1pPr>
          </a:lstStyle>
          <a:p>
            <a:fld id="{A53D08C8-A3C8-4710-B538-137A30B9C0CF}" type="datetimeFigureOut">
              <a:rPr lang="en-US" smtClean="0"/>
              <a:t>4/1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6050" y="1163638"/>
            <a:ext cx="4187825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02" tIns="47002" rIns="94002" bIns="4700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78476"/>
            <a:ext cx="5615940" cy="3664208"/>
          </a:xfrm>
          <a:prstGeom prst="rect">
            <a:avLst/>
          </a:prstGeom>
        </p:spPr>
        <p:txBody>
          <a:bodyPr vert="horz" lIns="94002" tIns="47002" rIns="94002" bIns="4700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39018"/>
            <a:ext cx="3041968" cy="466911"/>
          </a:xfrm>
          <a:prstGeom prst="rect">
            <a:avLst/>
          </a:prstGeom>
        </p:spPr>
        <p:txBody>
          <a:bodyPr vert="horz" lIns="94002" tIns="47002" rIns="94002" bIns="47002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4" y="8839018"/>
            <a:ext cx="3041968" cy="466911"/>
          </a:xfrm>
          <a:prstGeom prst="rect">
            <a:avLst/>
          </a:prstGeom>
        </p:spPr>
        <p:txBody>
          <a:bodyPr vert="horz" lIns="94002" tIns="47002" rIns="94002" bIns="47002" rtlCol="0" anchor="b"/>
          <a:lstStyle>
            <a:lvl1pPr algn="r">
              <a:defRPr sz="1300"/>
            </a:lvl1pPr>
          </a:lstStyle>
          <a:p>
            <a:fld id="{ABFB5EB9-4691-42D0-8D39-C21F072E400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7115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08" b="-19608"/>
          <a:stretch/>
        </p:blipFill>
        <p:spPr>
          <a:xfrm>
            <a:off x="0" y="-3165"/>
            <a:ext cx="9144000" cy="287178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37188"/>
            <a:ext cx="9144000" cy="28717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81000" y="4930440"/>
            <a:ext cx="8404760" cy="553998"/>
          </a:xfrm>
          <a:solidFill>
            <a:schemeClr val="bg1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81000" y="5643027"/>
            <a:ext cx="5904260" cy="210507"/>
          </a:xfrm>
        </p:spPr>
        <p:txBody>
          <a:bodyPr wrap="square">
            <a:spAutoFit/>
          </a:bodyPr>
          <a:lstStyle>
            <a:lvl1pPr marL="0" indent="0" algn="l">
              <a:buNone/>
              <a:defRPr sz="1200" b="1" cap="all" spc="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381000" y="6012123"/>
            <a:ext cx="375542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1" cap="all" spc="20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February 2019 | CONFIDENTIAL</a:t>
            </a:r>
          </a:p>
        </p:txBody>
      </p:sp>
      <p:pic>
        <p:nvPicPr>
          <p:cNvPr id="8" name="Picture 7" hidden="1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405" y="6505257"/>
            <a:ext cx="1336097" cy="19018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833" y="2320174"/>
            <a:ext cx="3348927" cy="1186078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>
            <p:custDataLst>
              <p:tags r:id="rId2"/>
            </p:custDataLst>
          </p:nvPr>
        </p:nvCxnSpPr>
        <p:spPr>
          <a:xfrm>
            <a:off x="0" y="4708976"/>
            <a:ext cx="914400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19135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uble Vertic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730" y="1271534"/>
            <a:ext cx="4059936" cy="507492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820920" y="1271534"/>
            <a:ext cx="4059936" cy="507492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88118" y="6623496"/>
            <a:ext cx="238482" cy="168528"/>
          </a:xfrm>
          <a:prstGeom prst="rect">
            <a:avLst/>
          </a:prstGeom>
        </p:spPr>
        <p:txBody>
          <a:bodyPr lIns="0" rIns="0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fld id="{EC1B2D3E-9360-4758-8E0C-AE33135323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77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Vertical Horizontal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730" y="1712913"/>
            <a:ext cx="4059936" cy="463600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820920" y="1712913"/>
            <a:ext cx="4059936" cy="4636008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88118" y="6623496"/>
            <a:ext cx="238482" cy="168528"/>
          </a:xfrm>
          <a:prstGeom prst="rect">
            <a:avLst/>
          </a:prstGeom>
        </p:spPr>
        <p:txBody>
          <a:bodyPr lIns="0" rIns="0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fld id="{EC1B2D3E-9360-4758-8E0C-AE33135323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50730" y="773025"/>
            <a:ext cx="8646088" cy="433067"/>
          </a:xfrm>
          <a:solidFill>
            <a:schemeClr val="accent5"/>
          </a:solidFill>
        </p:spPr>
        <p:txBody>
          <a:bodyPr lIns="91440" tIns="118872" rIns="91440" bIns="118872">
            <a:sp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007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730" y="1271534"/>
            <a:ext cx="4059936" cy="227685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820920" y="1271534"/>
            <a:ext cx="4059936" cy="227685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4"/>
          </p:nvPr>
        </p:nvSpPr>
        <p:spPr>
          <a:xfrm>
            <a:off x="250730" y="4074159"/>
            <a:ext cx="4059936" cy="227685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4820920" y="4074159"/>
            <a:ext cx="4059936" cy="227685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>
                <a:solidFill>
                  <a:schemeClr val="tx1"/>
                </a:solidFill>
              </a:defRPr>
            </a:lvl1pPr>
            <a:lvl2pPr>
              <a:buClrTx/>
              <a:defRPr lang="en-US" dirty="0" smtClean="0">
                <a:solidFill>
                  <a:schemeClr val="tx1"/>
                </a:solidFill>
              </a:defRPr>
            </a:lvl2pPr>
            <a:lvl3pPr>
              <a:buClrTx/>
              <a:defRPr lang="en-US" dirty="0" smtClean="0">
                <a:solidFill>
                  <a:schemeClr val="tx1"/>
                </a:solidFill>
              </a:defRPr>
            </a:lvl3pPr>
            <a:lvl4pPr>
              <a:buClrTx/>
              <a:defRPr lang="en-US" dirty="0" smtClean="0">
                <a:solidFill>
                  <a:schemeClr val="tx1"/>
                </a:solidFill>
              </a:defRPr>
            </a:lvl4pPr>
            <a:lvl5pPr>
              <a:buClrTx/>
              <a:defRPr lang="en-US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88118" y="6623496"/>
            <a:ext cx="238482" cy="168528"/>
          </a:xfrm>
          <a:prstGeom prst="rect">
            <a:avLst/>
          </a:prstGeom>
        </p:spPr>
        <p:txBody>
          <a:bodyPr lIns="0" rIns="0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fld id="{EC1B2D3E-9360-4758-8E0C-AE33135323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229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6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587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31708" y="4860071"/>
            <a:ext cx="8032669" cy="892710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3200" b="1" cap="none" baseline="0">
                <a:solidFill>
                  <a:schemeClr val="accent1"/>
                </a:solidFill>
                <a:latin typeface="+mj-lt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AU" dirty="0"/>
              <a:t>Click to insert title</a:t>
            </a:r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31709" y="6060590"/>
            <a:ext cx="2617177" cy="288528"/>
          </a:xfrm>
        </p:spPr>
        <p:txBody>
          <a:bodyPr/>
          <a:lstStyle>
            <a:lvl1pPr algn="l">
              <a:defRPr sz="1200"/>
            </a:lvl1pPr>
          </a:lstStyle>
          <a:p>
            <a:pPr lvl="0"/>
            <a:r>
              <a:rPr lang="en-AU" noProof="0" dirty="0"/>
              <a:t>Click to insert da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708" y="5693019"/>
            <a:ext cx="8033119" cy="367571"/>
          </a:xfrm>
        </p:spPr>
        <p:txBody>
          <a:bodyPr/>
          <a:lstStyle>
            <a:lvl1pPr algn="l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insert sub-title</a:t>
            </a:r>
            <a:endParaRPr lang="en-A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727011B-3A55-443A-BB1D-185FAB17EE6D}"/>
              </a:ext>
            </a:extLst>
          </p:cNvPr>
          <p:cNvSpPr/>
          <p:nvPr userDrawn="1"/>
        </p:nvSpPr>
        <p:spPr>
          <a:xfrm>
            <a:off x="431708" y="6432160"/>
            <a:ext cx="129715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AU" sz="700" noProof="0" dirty="0">
                <a:solidFill>
                  <a:schemeClr val="accent6"/>
                </a:solidFill>
              </a:rPr>
              <a:t>STRICTLY CONFIDENTIAL</a:t>
            </a:r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F40B60D-6C46-497A-B5FF-52752D219B1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6200" y="458911"/>
            <a:ext cx="4575057" cy="1831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6811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37" b="3703"/>
          <a:stretch/>
        </p:blipFill>
        <p:spPr>
          <a:xfrm>
            <a:off x="0" y="0"/>
            <a:ext cx="9144000" cy="4483100"/>
          </a:xfrm>
          <a:prstGeom prst="rect">
            <a:avLst/>
          </a:prstGeom>
        </p:spPr>
      </p:pic>
      <p:sp>
        <p:nvSpPr>
          <p:cNvPr id="23" name="Pentagon 22"/>
          <p:cNvSpPr/>
          <p:nvPr userDrawn="1"/>
        </p:nvSpPr>
        <p:spPr>
          <a:xfrm rot="10800000">
            <a:off x="6649374" y="4077809"/>
            <a:ext cx="2494625" cy="8177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" y="4437358"/>
            <a:ext cx="6696074" cy="86680"/>
            <a:chOff x="0" y="6557433"/>
            <a:chExt cx="9144000" cy="300567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557433"/>
              <a:ext cx="2514600" cy="3005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2514600" y="6557433"/>
              <a:ext cx="1295400" cy="30056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810000" y="6557433"/>
              <a:ext cx="1905000" cy="3005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5676900" y="6557433"/>
              <a:ext cx="1905000" cy="3005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7581900" y="6557433"/>
              <a:ext cx="1562100" cy="3005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293158"/>
            <a:ext cx="8305800" cy="627641"/>
          </a:xfrm>
        </p:spPr>
        <p:txBody>
          <a:bodyPr tIns="0" rIns="0" bIns="0" anchor="b" anchorCtr="0"/>
          <a:lstStyle>
            <a:lvl1pPr algn="l">
              <a:defRPr sz="3600" b="1" cap="none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381000" y="6063547"/>
            <a:ext cx="5689736" cy="28346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996" y="4200385"/>
            <a:ext cx="1962702" cy="69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2975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4_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29"/>
          <a:stretch/>
        </p:blipFill>
        <p:spPr>
          <a:xfrm>
            <a:off x="0" y="0"/>
            <a:ext cx="9144000" cy="4437358"/>
          </a:xfrm>
          <a:prstGeom prst="rect">
            <a:avLst/>
          </a:prstGeom>
        </p:spPr>
      </p:pic>
      <p:sp>
        <p:nvSpPr>
          <p:cNvPr id="23" name="Pentagon 22"/>
          <p:cNvSpPr/>
          <p:nvPr userDrawn="1"/>
        </p:nvSpPr>
        <p:spPr>
          <a:xfrm rot="10800000">
            <a:off x="6649374" y="4077809"/>
            <a:ext cx="2494625" cy="8177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" y="4437358"/>
            <a:ext cx="6696074" cy="86680"/>
            <a:chOff x="0" y="6557433"/>
            <a:chExt cx="9144000" cy="300567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557433"/>
              <a:ext cx="2514600" cy="3005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2514600" y="6557433"/>
              <a:ext cx="1295400" cy="30056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810000" y="6557433"/>
              <a:ext cx="1905000" cy="3005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5676900" y="6557433"/>
              <a:ext cx="1905000" cy="3005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7581900" y="6557433"/>
              <a:ext cx="1562100" cy="3005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293158"/>
            <a:ext cx="8305800" cy="627641"/>
          </a:xfrm>
        </p:spPr>
        <p:txBody>
          <a:bodyPr tIns="0" rIns="0" bIns="0" anchor="b" anchorCtr="0"/>
          <a:lstStyle>
            <a:lvl1pPr algn="l">
              <a:defRPr sz="3600" b="1" cap="none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381000" y="6063547"/>
            <a:ext cx="5689736" cy="28346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996" y="4200385"/>
            <a:ext cx="1962702" cy="69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355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9_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452403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3" name="Pentagon 22"/>
          <p:cNvSpPr/>
          <p:nvPr userDrawn="1"/>
        </p:nvSpPr>
        <p:spPr>
          <a:xfrm rot="10800000">
            <a:off x="6649374" y="4077809"/>
            <a:ext cx="2494625" cy="8177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" y="4437358"/>
            <a:ext cx="6696074" cy="86680"/>
            <a:chOff x="0" y="6557433"/>
            <a:chExt cx="9144000" cy="300567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557433"/>
              <a:ext cx="2514600" cy="3005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2514600" y="6557433"/>
              <a:ext cx="1295400" cy="30056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810000" y="6557433"/>
              <a:ext cx="1905000" cy="3005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5676900" y="6557433"/>
              <a:ext cx="1905000" cy="3005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7581900" y="6557433"/>
              <a:ext cx="1562100" cy="3005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293158"/>
            <a:ext cx="8305800" cy="627641"/>
          </a:xfrm>
        </p:spPr>
        <p:txBody>
          <a:bodyPr tIns="0" rIns="0" bIns="0" anchor="b" anchorCtr="0"/>
          <a:lstStyle>
            <a:lvl1pPr algn="l">
              <a:defRPr sz="3600" b="1" cap="none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381000" y="6063547"/>
            <a:ext cx="5689736" cy="28346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996" y="4200385"/>
            <a:ext cx="1962702" cy="69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279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8_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391" b="18391"/>
          <a:stretch/>
        </p:blipFill>
        <p:spPr>
          <a:xfrm>
            <a:off x="0" y="0"/>
            <a:ext cx="9144000" cy="4437358"/>
          </a:xfrm>
          <a:prstGeom prst="rect">
            <a:avLst/>
          </a:prstGeom>
        </p:spPr>
      </p:pic>
      <p:sp>
        <p:nvSpPr>
          <p:cNvPr id="23" name="Pentagon 22"/>
          <p:cNvSpPr/>
          <p:nvPr userDrawn="1"/>
        </p:nvSpPr>
        <p:spPr>
          <a:xfrm rot="10800000">
            <a:off x="6649374" y="4077809"/>
            <a:ext cx="2494625" cy="8177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" y="4437358"/>
            <a:ext cx="6696074" cy="86680"/>
            <a:chOff x="0" y="6557433"/>
            <a:chExt cx="9144000" cy="300567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557433"/>
              <a:ext cx="2514600" cy="3005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2514600" y="6557433"/>
              <a:ext cx="1295400" cy="30056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810000" y="6557433"/>
              <a:ext cx="1905000" cy="3005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5676900" y="6557433"/>
              <a:ext cx="1905000" cy="3005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7581900" y="6557433"/>
              <a:ext cx="1562100" cy="3005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293158"/>
            <a:ext cx="8305800" cy="627641"/>
          </a:xfrm>
        </p:spPr>
        <p:txBody>
          <a:bodyPr tIns="0" rIns="0" bIns="0" anchor="b" anchorCtr="0"/>
          <a:lstStyle>
            <a:lvl1pPr algn="l">
              <a:defRPr sz="3600" b="1" cap="none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381000" y="6063547"/>
            <a:ext cx="5689736" cy="28346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996" y="4200385"/>
            <a:ext cx="1962702" cy="69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74210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7_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729"/>
          <a:stretch/>
        </p:blipFill>
        <p:spPr>
          <a:xfrm>
            <a:off x="0" y="0"/>
            <a:ext cx="9144000" cy="4437357"/>
          </a:xfrm>
          <a:prstGeom prst="rect">
            <a:avLst/>
          </a:prstGeom>
        </p:spPr>
      </p:pic>
      <p:sp>
        <p:nvSpPr>
          <p:cNvPr id="23" name="Pentagon 22"/>
          <p:cNvSpPr/>
          <p:nvPr userDrawn="1"/>
        </p:nvSpPr>
        <p:spPr>
          <a:xfrm rot="10800000">
            <a:off x="6649374" y="4077809"/>
            <a:ext cx="2494625" cy="81770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" y="4437358"/>
            <a:ext cx="6696074" cy="86680"/>
            <a:chOff x="0" y="6557433"/>
            <a:chExt cx="9144000" cy="300567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6557433"/>
              <a:ext cx="2514600" cy="30056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2514600" y="6557433"/>
              <a:ext cx="1295400" cy="30056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810000" y="6557433"/>
              <a:ext cx="1905000" cy="30056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5676900" y="6557433"/>
              <a:ext cx="1905000" cy="3005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7581900" y="6557433"/>
              <a:ext cx="1562100" cy="30056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14000"/>
                </a:lnSpc>
                <a:spcAft>
                  <a:spcPts val="600"/>
                </a:spcAft>
                <a:buClr>
                  <a:schemeClr val="tx1"/>
                </a:buClr>
                <a:buSzPct val="100000"/>
              </a:pPr>
              <a:endParaRPr lang="en-US" sz="11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5293158"/>
            <a:ext cx="8305800" cy="627641"/>
          </a:xfrm>
        </p:spPr>
        <p:txBody>
          <a:bodyPr tIns="0" rIns="0" bIns="0" anchor="b" anchorCtr="0"/>
          <a:lstStyle>
            <a:lvl1pPr algn="l">
              <a:defRPr sz="3600" b="1" cap="none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381000" y="6063547"/>
            <a:ext cx="5689736" cy="283464"/>
          </a:xfrm>
        </p:spPr>
        <p:txBody>
          <a:bodyPr anchor="t">
            <a:no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6996" y="4200385"/>
            <a:ext cx="1962702" cy="695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1016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250730" y="-63500"/>
            <a:ext cx="8641080" cy="811038"/>
          </a:xfr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88118" y="6623496"/>
            <a:ext cx="238482" cy="168528"/>
          </a:xfrm>
          <a:prstGeom prst="rect">
            <a:avLst/>
          </a:prstGeom>
        </p:spPr>
        <p:txBody>
          <a:bodyPr lIns="0" rIns="0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fld id="{EC1B2D3E-9360-4758-8E0C-AE33135323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082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730" y="1271534"/>
            <a:ext cx="5843016" cy="507492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88118" y="6623496"/>
            <a:ext cx="238482" cy="168528"/>
          </a:xfrm>
          <a:prstGeom prst="rect">
            <a:avLst/>
          </a:prstGeom>
        </p:spPr>
        <p:txBody>
          <a:bodyPr lIns="0" rIns="0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fld id="{EC1B2D3E-9360-4758-8E0C-AE331353233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5659E533-5804-6CD8-5DF4-BCE76A08DB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314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 Horizontal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730" y="1712913"/>
            <a:ext cx="5843016" cy="4636008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88118" y="6623496"/>
            <a:ext cx="238482" cy="168528"/>
          </a:xfrm>
          <a:prstGeom prst="rect">
            <a:avLst/>
          </a:prstGeom>
        </p:spPr>
        <p:txBody>
          <a:bodyPr lIns="0" rIns="0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fld id="{EC1B2D3E-9360-4758-8E0C-AE331353233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50730" y="773025"/>
            <a:ext cx="8646088" cy="433067"/>
          </a:xfrm>
          <a:solidFill>
            <a:schemeClr val="accent5"/>
          </a:solidFill>
        </p:spPr>
        <p:txBody>
          <a:bodyPr lIns="91440" tIns="118872" rIns="91440" bIns="118872">
            <a:sp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15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287994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id" hidden="1"/>
          <p:cNvGrpSpPr/>
          <p:nvPr>
            <p:custDataLst>
              <p:tags r:id="rId16"/>
            </p:custDataLst>
          </p:nvPr>
        </p:nvGrpSpPr>
        <p:grpSpPr>
          <a:xfrm>
            <a:off x="-714726" y="-1858282"/>
            <a:ext cx="10573101" cy="10608018"/>
            <a:chOff x="-714726" y="-1858282"/>
            <a:chExt cx="10573101" cy="10608018"/>
          </a:xfrm>
        </p:grpSpPr>
        <p:sp>
          <p:nvSpPr>
            <p:cNvPr id="9" name="Line 5" hidden="1"/>
            <p:cNvSpPr>
              <a:spLocks noChangeShapeType="1"/>
            </p:cNvSpPr>
            <p:nvPr/>
          </p:nvSpPr>
          <p:spPr bwMode="auto">
            <a:xfrm>
              <a:off x="279062" y="1523284"/>
              <a:ext cx="8617756" cy="0"/>
            </a:xfrm>
            <a:prstGeom prst="line">
              <a:avLst/>
            </a:prstGeom>
            <a:noFill/>
            <a:ln w="11113" cap="flat">
              <a:solidFill>
                <a:srgbClr val="DCD5C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Line 7" hidden="1"/>
            <p:cNvSpPr>
              <a:spLocks noChangeShapeType="1"/>
            </p:cNvSpPr>
            <p:nvPr/>
          </p:nvSpPr>
          <p:spPr bwMode="auto">
            <a:xfrm flipH="1">
              <a:off x="-714726" y="508008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Line 8" hidden="1"/>
            <p:cNvSpPr>
              <a:spLocks noChangeShapeType="1"/>
            </p:cNvSpPr>
            <p:nvPr/>
          </p:nvSpPr>
          <p:spPr bwMode="auto">
            <a:xfrm flipH="1">
              <a:off x="-714726" y="761827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Line 9" hidden="1"/>
            <p:cNvSpPr>
              <a:spLocks noChangeShapeType="1"/>
            </p:cNvSpPr>
            <p:nvPr/>
          </p:nvSpPr>
          <p:spPr bwMode="auto">
            <a:xfrm flipH="1">
              <a:off x="-714726" y="1015646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Line 10" hidden="1"/>
            <p:cNvSpPr>
              <a:spLocks noChangeShapeType="1"/>
            </p:cNvSpPr>
            <p:nvPr/>
          </p:nvSpPr>
          <p:spPr bwMode="auto">
            <a:xfrm flipH="1">
              <a:off x="-714726" y="1269465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Line 11" hidden="1"/>
            <p:cNvSpPr>
              <a:spLocks noChangeShapeType="1"/>
            </p:cNvSpPr>
            <p:nvPr/>
          </p:nvSpPr>
          <p:spPr bwMode="auto">
            <a:xfrm flipH="1">
              <a:off x="-714726" y="1523284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Line 12" hidden="1"/>
            <p:cNvSpPr>
              <a:spLocks noChangeShapeType="1"/>
            </p:cNvSpPr>
            <p:nvPr/>
          </p:nvSpPr>
          <p:spPr bwMode="auto">
            <a:xfrm flipH="1">
              <a:off x="-714726" y="1777103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Line 13" hidden="1"/>
            <p:cNvSpPr>
              <a:spLocks noChangeShapeType="1"/>
            </p:cNvSpPr>
            <p:nvPr/>
          </p:nvSpPr>
          <p:spPr bwMode="auto">
            <a:xfrm flipH="1">
              <a:off x="-714726" y="2030921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Line 14" hidden="1"/>
            <p:cNvSpPr>
              <a:spLocks noChangeShapeType="1"/>
            </p:cNvSpPr>
            <p:nvPr/>
          </p:nvSpPr>
          <p:spPr bwMode="auto">
            <a:xfrm flipH="1">
              <a:off x="-714726" y="2539902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Line 15" hidden="1"/>
            <p:cNvSpPr>
              <a:spLocks noChangeShapeType="1"/>
            </p:cNvSpPr>
            <p:nvPr/>
          </p:nvSpPr>
          <p:spPr bwMode="auto">
            <a:xfrm flipH="1">
              <a:off x="-714726" y="2793721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Line 16" hidden="1"/>
            <p:cNvSpPr>
              <a:spLocks noChangeShapeType="1"/>
            </p:cNvSpPr>
            <p:nvPr/>
          </p:nvSpPr>
          <p:spPr bwMode="auto">
            <a:xfrm flipH="1">
              <a:off x="-714726" y="3047540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Line 17" hidden="1"/>
            <p:cNvSpPr>
              <a:spLocks noChangeShapeType="1"/>
            </p:cNvSpPr>
            <p:nvPr/>
          </p:nvSpPr>
          <p:spPr bwMode="auto">
            <a:xfrm flipH="1">
              <a:off x="-714726" y="3301359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Line 18" hidden="1"/>
            <p:cNvSpPr>
              <a:spLocks noChangeShapeType="1"/>
            </p:cNvSpPr>
            <p:nvPr/>
          </p:nvSpPr>
          <p:spPr bwMode="auto">
            <a:xfrm flipH="1">
              <a:off x="-714726" y="3555178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Line 19" hidden="1"/>
            <p:cNvSpPr>
              <a:spLocks noChangeShapeType="1"/>
            </p:cNvSpPr>
            <p:nvPr/>
          </p:nvSpPr>
          <p:spPr bwMode="auto">
            <a:xfrm flipH="1">
              <a:off x="-714726" y="3808997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Line 20" hidden="1"/>
            <p:cNvSpPr>
              <a:spLocks noChangeShapeType="1"/>
            </p:cNvSpPr>
            <p:nvPr/>
          </p:nvSpPr>
          <p:spPr bwMode="auto">
            <a:xfrm flipH="1">
              <a:off x="-714726" y="4062816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Line 21" hidden="1"/>
            <p:cNvSpPr>
              <a:spLocks noChangeShapeType="1"/>
            </p:cNvSpPr>
            <p:nvPr/>
          </p:nvSpPr>
          <p:spPr bwMode="auto">
            <a:xfrm flipH="1">
              <a:off x="-714726" y="4316634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Line 22" hidden="1"/>
            <p:cNvSpPr>
              <a:spLocks noChangeShapeType="1"/>
            </p:cNvSpPr>
            <p:nvPr/>
          </p:nvSpPr>
          <p:spPr bwMode="auto">
            <a:xfrm flipH="1">
              <a:off x="-714726" y="4825615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Line 23" hidden="1"/>
            <p:cNvSpPr>
              <a:spLocks noChangeShapeType="1"/>
            </p:cNvSpPr>
            <p:nvPr/>
          </p:nvSpPr>
          <p:spPr bwMode="auto">
            <a:xfrm flipH="1">
              <a:off x="-714726" y="5079434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Line 24" hidden="1"/>
            <p:cNvSpPr>
              <a:spLocks noChangeShapeType="1"/>
            </p:cNvSpPr>
            <p:nvPr/>
          </p:nvSpPr>
          <p:spPr bwMode="auto">
            <a:xfrm flipH="1">
              <a:off x="-714726" y="5333253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Line 25" hidden="1"/>
            <p:cNvSpPr>
              <a:spLocks noChangeShapeType="1"/>
            </p:cNvSpPr>
            <p:nvPr/>
          </p:nvSpPr>
          <p:spPr bwMode="auto">
            <a:xfrm flipH="1">
              <a:off x="-714726" y="5587072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Line 26" hidden="1"/>
            <p:cNvSpPr>
              <a:spLocks noChangeShapeType="1"/>
            </p:cNvSpPr>
            <p:nvPr/>
          </p:nvSpPr>
          <p:spPr bwMode="auto">
            <a:xfrm flipH="1">
              <a:off x="-714726" y="5840891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Line 27" hidden="1"/>
            <p:cNvSpPr>
              <a:spLocks noChangeShapeType="1"/>
            </p:cNvSpPr>
            <p:nvPr/>
          </p:nvSpPr>
          <p:spPr bwMode="auto">
            <a:xfrm flipH="1">
              <a:off x="-714726" y="6094710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Line 28" hidden="1"/>
            <p:cNvSpPr>
              <a:spLocks noChangeShapeType="1"/>
            </p:cNvSpPr>
            <p:nvPr/>
          </p:nvSpPr>
          <p:spPr bwMode="auto">
            <a:xfrm flipH="1">
              <a:off x="-714726" y="6348529"/>
              <a:ext cx="10573101" cy="0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Line 29" hidden="1"/>
            <p:cNvSpPr>
              <a:spLocks noChangeShapeType="1"/>
            </p:cNvSpPr>
            <p:nvPr/>
          </p:nvSpPr>
          <p:spPr bwMode="auto">
            <a:xfrm flipV="1">
              <a:off x="761184" y="-1858282"/>
              <a:ext cx="0" cy="10608018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Line 30" hidden="1"/>
            <p:cNvSpPr>
              <a:spLocks noChangeShapeType="1"/>
            </p:cNvSpPr>
            <p:nvPr/>
          </p:nvSpPr>
          <p:spPr bwMode="auto">
            <a:xfrm flipV="1">
              <a:off x="1523983" y="-1858282"/>
              <a:ext cx="0" cy="10608018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Line 31" hidden="1"/>
            <p:cNvSpPr>
              <a:spLocks noChangeShapeType="1"/>
            </p:cNvSpPr>
            <p:nvPr/>
          </p:nvSpPr>
          <p:spPr bwMode="auto">
            <a:xfrm flipV="1">
              <a:off x="3048240" y="-1858282"/>
              <a:ext cx="0" cy="10608018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Line 32" hidden="1"/>
            <p:cNvSpPr>
              <a:spLocks noChangeShapeType="1"/>
            </p:cNvSpPr>
            <p:nvPr/>
          </p:nvSpPr>
          <p:spPr bwMode="auto">
            <a:xfrm flipV="1">
              <a:off x="3809696" y="-1858282"/>
              <a:ext cx="0" cy="10608018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Line 33" hidden="1"/>
            <p:cNvSpPr>
              <a:spLocks noChangeShapeType="1"/>
            </p:cNvSpPr>
            <p:nvPr/>
          </p:nvSpPr>
          <p:spPr bwMode="auto">
            <a:xfrm flipV="1">
              <a:off x="5333953" y="-1858282"/>
              <a:ext cx="0" cy="10608018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Line 34" hidden="1"/>
            <p:cNvSpPr>
              <a:spLocks noChangeShapeType="1"/>
            </p:cNvSpPr>
            <p:nvPr/>
          </p:nvSpPr>
          <p:spPr bwMode="auto">
            <a:xfrm flipV="1">
              <a:off x="6095409" y="-1858282"/>
              <a:ext cx="0" cy="10608018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Line 35" hidden="1"/>
            <p:cNvSpPr>
              <a:spLocks noChangeShapeType="1"/>
            </p:cNvSpPr>
            <p:nvPr/>
          </p:nvSpPr>
          <p:spPr bwMode="auto">
            <a:xfrm flipV="1">
              <a:off x="7619666" y="-1858282"/>
              <a:ext cx="0" cy="10608018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Line 36" hidden="1"/>
            <p:cNvSpPr>
              <a:spLocks noChangeShapeType="1"/>
            </p:cNvSpPr>
            <p:nvPr/>
          </p:nvSpPr>
          <p:spPr bwMode="auto">
            <a:xfrm flipV="1">
              <a:off x="8382465" y="-1858282"/>
              <a:ext cx="0" cy="10608018"/>
            </a:xfrm>
            <a:prstGeom prst="line">
              <a:avLst/>
            </a:prstGeom>
            <a:noFill/>
            <a:ln w="15875" cap="flat">
              <a:solidFill>
                <a:srgbClr val="DCD5C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7" hidden="1"/>
            <p:cNvSpPr>
              <a:spLocks/>
            </p:cNvSpPr>
            <p:nvPr/>
          </p:nvSpPr>
          <p:spPr bwMode="auto">
            <a:xfrm>
              <a:off x="-273" y="2291455"/>
              <a:ext cx="9144195" cy="0"/>
            </a:xfrm>
            <a:custGeom>
              <a:avLst/>
              <a:gdLst>
                <a:gd name="T0" fmla="*/ 0 w 6809"/>
                <a:gd name="T1" fmla="*/ 6809 w 6809"/>
                <a:gd name="T2" fmla="*/ 0 w 680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809">
                  <a:moveTo>
                    <a:pt x="0" y="0"/>
                  </a:moveTo>
                  <a:lnTo>
                    <a:pt x="680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 hidden="1"/>
            <p:cNvSpPr>
              <a:spLocks/>
            </p:cNvSpPr>
            <p:nvPr/>
          </p:nvSpPr>
          <p:spPr bwMode="auto">
            <a:xfrm>
              <a:off x="-273" y="4577168"/>
              <a:ext cx="9144195" cy="0"/>
            </a:xfrm>
            <a:custGeom>
              <a:avLst/>
              <a:gdLst>
                <a:gd name="T0" fmla="*/ 0 w 6809"/>
                <a:gd name="T1" fmla="*/ 6809 w 6809"/>
                <a:gd name="T2" fmla="*/ 0 w 680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809">
                  <a:moveTo>
                    <a:pt x="0" y="0"/>
                  </a:moveTo>
                  <a:lnTo>
                    <a:pt x="680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 hidden="1"/>
            <p:cNvSpPr>
              <a:spLocks/>
            </p:cNvSpPr>
            <p:nvPr/>
          </p:nvSpPr>
          <p:spPr bwMode="auto">
            <a:xfrm>
              <a:off x="2280068" y="-973"/>
              <a:ext cx="0" cy="6858482"/>
            </a:xfrm>
            <a:custGeom>
              <a:avLst/>
              <a:gdLst>
                <a:gd name="T0" fmla="*/ 0 h 5107"/>
                <a:gd name="T1" fmla="*/ 5107 h 5107"/>
                <a:gd name="T2" fmla="*/ 0 h 510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107">
                  <a:moveTo>
                    <a:pt x="0" y="0"/>
                  </a:moveTo>
                  <a:lnTo>
                    <a:pt x="0" y="51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3" hidden="1"/>
            <p:cNvSpPr>
              <a:spLocks/>
            </p:cNvSpPr>
            <p:nvPr/>
          </p:nvSpPr>
          <p:spPr bwMode="auto">
            <a:xfrm>
              <a:off x="4565781" y="-973"/>
              <a:ext cx="0" cy="6858482"/>
            </a:xfrm>
            <a:custGeom>
              <a:avLst/>
              <a:gdLst>
                <a:gd name="T0" fmla="*/ 0 h 5107"/>
                <a:gd name="T1" fmla="*/ 5107 h 5107"/>
                <a:gd name="T2" fmla="*/ 0 h 510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107">
                  <a:moveTo>
                    <a:pt x="0" y="0"/>
                  </a:moveTo>
                  <a:lnTo>
                    <a:pt x="0" y="51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5" hidden="1"/>
            <p:cNvSpPr>
              <a:spLocks/>
            </p:cNvSpPr>
            <p:nvPr/>
          </p:nvSpPr>
          <p:spPr bwMode="auto">
            <a:xfrm>
              <a:off x="6851494" y="-973"/>
              <a:ext cx="0" cy="6858482"/>
            </a:xfrm>
            <a:custGeom>
              <a:avLst/>
              <a:gdLst>
                <a:gd name="T0" fmla="*/ 0 h 5107"/>
                <a:gd name="T1" fmla="*/ 5107 h 5107"/>
                <a:gd name="T2" fmla="*/ 0 h 510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5107">
                  <a:moveTo>
                    <a:pt x="0" y="0"/>
                  </a:moveTo>
                  <a:lnTo>
                    <a:pt x="0" y="51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45" name="Group 44" hidden="1"/>
            <p:cNvGrpSpPr/>
            <p:nvPr/>
          </p:nvGrpSpPr>
          <p:grpSpPr>
            <a:xfrm>
              <a:off x="-257908" y="2291455"/>
              <a:ext cx="9703057" cy="2285713"/>
              <a:chOff x="-1435894" y="2293837"/>
              <a:chExt cx="11291583" cy="2285713"/>
            </a:xfrm>
          </p:grpSpPr>
          <p:sp>
            <p:nvSpPr>
              <p:cNvPr id="54" name="Line 38" hidden="1"/>
              <p:cNvSpPr>
                <a:spLocks noChangeShapeType="1"/>
              </p:cNvSpPr>
              <p:nvPr/>
            </p:nvSpPr>
            <p:spPr bwMode="auto">
              <a:xfrm>
                <a:off x="-1435894" y="2293837"/>
                <a:ext cx="11291583" cy="0"/>
              </a:xfrm>
              <a:prstGeom prst="line">
                <a:avLst/>
              </a:prstGeom>
              <a:noFill/>
              <a:ln w="15875" cap="flat">
                <a:solidFill>
                  <a:srgbClr val="FF00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5" name="Line 40" hidden="1"/>
              <p:cNvSpPr>
                <a:spLocks noChangeShapeType="1"/>
              </p:cNvSpPr>
              <p:nvPr/>
            </p:nvSpPr>
            <p:spPr bwMode="auto">
              <a:xfrm>
                <a:off x="-1435894" y="4579550"/>
                <a:ext cx="11291583" cy="0"/>
              </a:xfrm>
              <a:prstGeom prst="line">
                <a:avLst/>
              </a:prstGeom>
              <a:noFill/>
              <a:ln w="15875" cap="flat">
                <a:solidFill>
                  <a:srgbClr val="FF00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6" name="Group 45" hidden="1"/>
            <p:cNvGrpSpPr/>
            <p:nvPr/>
          </p:nvGrpSpPr>
          <p:grpSpPr>
            <a:xfrm>
              <a:off x="2280068" y="-375658"/>
              <a:ext cx="4571426" cy="7722004"/>
              <a:chOff x="2280068" y="-1991539"/>
              <a:chExt cx="4571426" cy="10958530"/>
            </a:xfrm>
          </p:grpSpPr>
          <p:sp>
            <p:nvSpPr>
              <p:cNvPr id="51" name="Line 42" hidden="1"/>
              <p:cNvSpPr>
                <a:spLocks noChangeShapeType="1"/>
              </p:cNvSpPr>
              <p:nvPr/>
            </p:nvSpPr>
            <p:spPr bwMode="auto">
              <a:xfrm>
                <a:off x="2280068" y="-1991539"/>
                <a:ext cx="0" cy="10958530"/>
              </a:xfrm>
              <a:prstGeom prst="line">
                <a:avLst/>
              </a:prstGeom>
              <a:noFill/>
              <a:ln w="15875" cap="flat">
                <a:solidFill>
                  <a:srgbClr val="FF00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2" name="Line 44" hidden="1"/>
              <p:cNvSpPr>
                <a:spLocks noChangeShapeType="1"/>
              </p:cNvSpPr>
              <p:nvPr/>
            </p:nvSpPr>
            <p:spPr bwMode="auto">
              <a:xfrm>
                <a:off x="4565781" y="-1991539"/>
                <a:ext cx="0" cy="10958530"/>
              </a:xfrm>
              <a:prstGeom prst="line">
                <a:avLst/>
              </a:prstGeom>
              <a:noFill/>
              <a:ln w="15875" cap="flat">
                <a:solidFill>
                  <a:srgbClr val="FF00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53" name="Line 46" hidden="1"/>
              <p:cNvSpPr>
                <a:spLocks noChangeShapeType="1"/>
              </p:cNvSpPr>
              <p:nvPr/>
            </p:nvSpPr>
            <p:spPr bwMode="auto">
              <a:xfrm>
                <a:off x="6851494" y="-1991539"/>
                <a:ext cx="0" cy="10958530"/>
              </a:xfrm>
              <a:prstGeom prst="line">
                <a:avLst/>
              </a:prstGeom>
              <a:noFill/>
              <a:ln w="15875" cap="flat">
                <a:solidFill>
                  <a:srgbClr val="FF00FF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47" name="Rectangle 47" hidden="1"/>
            <p:cNvSpPr>
              <a:spLocks noChangeArrowheads="1"/>
            </p:cNvSpPr>
            <p:nvPr/>
          </p:nvSpPr>
          <p:spPr bwMode="auto">
            <a:xfrm>
              <a:off x="-274" y="-973"/>
              <a:ext cx="256032" cy="6858482"/>
            </a:xfrm>
            <a:prstGeom prst="rect">
              <a:avLst/>
            </a:prstGeom>
            <a:solidFill>
              <a:srgbClr val="8AC1D9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Rectangle 48" hidden="1"/>
            <p:cNvSpPr>
              <a:spLocks noChangeArrowheads="1"/>
            </p:cNvSpPr>
            <p:nvPr/>
          </p:nvSpPr>
          <p:spPr bwMode="auto">
            <a:xfrm>
              <a:off x="8890103" y="-973"/>
              <a:ext cx="253819" cy="6858482"/>
            </a:xfrm>
            <a:prstGeom prst="rect">
              <a:avLst/>
            </a:prstGeom>
            <a:solidFill>
              <a:srgbClr val="8AC1D9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Rectangle 49" hidden="1"/>
            <p:cNvSpPr>
              <a:spLocks noChangeArrowheads="1"/>
            </p:cNvSpPr>
            <p:nvPr/>
          </p:nvSpPr>
          <p:spPr bwMode="auto">
            <a:xfrm>
              <a:off x="-273" y="-973"/>
              <a:ext cx="9144195" cy="253819"/>
            </a:xfrm>
            <a:prstGeom prst="rect">
              <a:avLst/>
            </a:prstGeom>
            <a:solidFill>
              <a:srgbClr val="8AC1D9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Rectangle 50" hidden="1"/>
            <p:cNvSpPr>
              <a:spLocks noChangeArrowheads="1"/>
            </p:cNvSpPr>
            <p:nvPr/>
          </p:nvSpPr>
          <p:spPr bwMode="auto">
            <a:xfrm>
              <a:off x="-273" y="6603690"/>
              <a:ext cx="9144195" cy="253819"/>
            </a:xfrm>
            <a:prstGeom prst="rect">
              <a:avLst/>
            </a:prstGeom>
            <a:solidFill>
              <a:srgbClr val="8AC1D9">
                <a:alpha val="5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730" y="0"/>
            <a:ext cx="8646088" cy="747538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6032" y="1020747"/>
            <a:ext cx="5833872" cy="53256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sz="1100" dirty="0"/>
          </a:p>
        </p:txBody>
      </p:sp>
      <p:sp>
        <p:nvSpPr>
          <p:cNvPr id="59" name="Footer Placeholder 6"/>
          <p:cNvSpPr txBox="1">
            <a:spLocks/>
          </p:cNvSpPr>
          <p:nvPr/>
        </p:nvSpPr>
        <p:spPr>
          <a:xfrm>
            <a:off x="256032" y="6348530"/>
            <a:ext cx="7460132" cy="417112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7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1" u="none" strike="noStrike" kern="1200" cap="none" spc="0" normalizeH="0" baseline="0" noProof="0" dirty="0">
              <a:ln>
                <a:noFill/>
              </a:ln>
              <a:solidFill>
                <a:srgbClr val="BEB7A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6" name="Table 55" hidden="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937443"/>
              </p:ext>
            </p:extLst>
          </p:nvPr>
        </p:nvGraphicFramePr>
        <p:xfrm>
          <a:off x="252418" y="770376"/>
          <a:ext cx="8641066" cy="60995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41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5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6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7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8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29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30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31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32"/>
                    </a:ext>
                  </a:extLst>
                </a:gridCol>
                <a:gridCol w="254149">
                  <a:extLst>
                    <a:ext uri="{9D8B030D-6E8A-4147-A177-3AD203B41FA5}">
                      <a16:colId xmlns:a16="http://schemas.microsoft.com/office/drawing/2014/main" val="20033"/>
                    </a:ext>
                  </a:extLst>
                </a:gridCol>
              </a:tblGrid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254149"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3175" cap="flat" cmpd="sng" algn="ctr">
                      <a:solidFill>
                        <a:srgbClr val="FF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400" dirty="0">
                        <a:ln>
                          <a:solidFill>
                            <a:srgbClr val="88B868"/>
                          </a:solidFill>
                        </a:ln>
                        <a:latin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BC9C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</a:tbl>
          </a:graphicData>
        </a:graphic>
      </p:graphicFrame>
      <p:cxnSp>
        <p:nvCxnSpPr>
          <p:cNvPr id="58" name="Straight Connector 57"/>
          <p:cNvCxnSpPr/>
          <p:nvPr>
            <p:custDataLst>
              <p:tags r:id="rId17"/>
            </p:custDataLst>
          </p:nvPr>
        </p:nvCxnSpPr>
        <p:spPr>
          <a:xfrm>
            <a:off x="250730" y="765001"/>
            <a:ext cx="8641080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14" y="309424"/>
            <a:ext cx="1056443" cy="374157"/>
          </a:xfrm>
          <a:prstGeom prst="rect">
            <a:avLst/>
          </a:prstGeom>
        </p:spPr>
      </p:pic>
      <p:cxnSp>
        <p:nvCxnSpPr>
          <p:cNvPr id="60" name="Straight Connector 59"/>
          <p:cNvCxnSpPr/>
          <p:nvPr userDrawn="1">
            <p:custDataLst>
              <p:tags r:id="rId18"/>
            </p:custDataLst>
          </p:nvPr>
        </p:nvCxnSpPr>
        <p:spPr>
          <a:xfrm>
            <a:off x="8869680" y="6632972"/>
            <a:ext cx="0" cy="207169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888118" y="6623496"/>
            <a:ext cx="238482" cy="168528"/>
          </a:xfrm>
          <a:prstGeom prst="rect">
            <a:avLst/>
          </a:prstGeom>
        </p:spPr>
        <p:txBody>
          <a:bodyPr lIns="0" rIns="0"/>
          <a:lstStyle>
            <a:lvl1pPr algn="ctr">
              <a:defRPr sz="900">
                <a:solidFill>
                  <a:schemeClr val="tx2"/>
                </a:solidFill>
              </a:defRPr>
            </a:lvl1pPr>
          </a:lstStyle>
          <a:p>
            <a:fld id="{EC1B2D3E-9360-4758-8E0C-AE331353233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2" name="Picture 61"/>
          <p:cNvPicPr>
            <a:picLocks noChangeAspect="1"/>
          </p:cNvPicPr>
          <p:nvPr userDrawn="1">
            <p:custDataLst>
              <p:tags r:id="rId19"/>
            </p:custDataLst>
          </p:nvPr>
        </p:nvPicPr>
        <p:blipFill>
          <a:blip r:embed="rId2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945" y="6705600"/>
            <a:ext cx="957455" cy="77343"/>
          </a:xfrm>
          <a:prstGeom prst="rect">
            <a:avLst/>
          </a:prstGeom>
        </p:spPr>
      </p:pic>
      <p:sp>
        <p:nvSpPr>
          <p:cNvPr id="63" name="Rectangle 62"/>
          <p:cNvSpPr/>
          <p:nvPr userDrawn="1"/>
        </p:nvSpPr>
        <p:spPr>
          <a:xfrm>
            <a:off x="-1400157" y="34256"/>
            <a:ext cx="968470" cy="829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4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83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54</a:t>
            </a:r>
          </a:p>
        </p:txBody>
      </p:sp>
      <p:sp>
        <p:nvSpPr>
          <p:cNvPr id="64" name="Rectangle 63"/>
          <p:cNvSpPr/>
          <p:nvPr userDrawn="1"/>
        </p:nvSpPr>
        <p:spPr>
          <a:xfrm>
            <a:off x="-1400157" y="1013100"/>
            <a:ext cx="968470" cy="82923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82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82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82</a:t>
            </a:r>
          </a:p>
        </p:txBody>
      </p:sp>
      <p:sp>
        <p:nvSpPr>
          <p:cNvPr id="65" name="Rectangle 64"/>
          <p:cNvSpPr/>
          <p:nvPr userDrawn="1"/>
        </p:nvSpPr>
        <p:spPr>
          <a:xfrm>
            <a:off x="-1400157" y="1991944"/>
            <a:ext cx="968470" cy="8292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38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97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66</a:t>
            </a:r>
          </a:p>
        </p:txBody>
      </p:sp>
      <p:sp>
        <p:nvSpPr>
          <p:cNvPr id="66" name="Rectangle 65"/>
          <p:cNvSpPr/>
          <p:nvPr userDrawn="1"/>
        </p:nvSpPr>
        <p:spPr>
          <a:xfrm>
            <a:off x="-1400157" y="2970788"/>
            <a:ext cx="968470" cy="82923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50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50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50</a:t>
            </a:r>
          </a:p>
        </p:txBody>
      </p:sp>
      <p:sp>
        <p:nvSpPr>
          <p:cNvPr id="67" name="Rectangle 66"/>
          <p:cNvSpPr/>
          <p:nvPr userDrawn="1"/>
        </p:nvSpPr>
        <p:spPr>
          <a:xfrm>
            <a:off x="-1400157" y="3949632"/>
            <a:ext cx="968470" cy="8292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70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32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-1400157" y="4928476"/>
            <a:ext cx="968470" cy="82923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248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154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49</a:t>
            </a:r>
          </a:p>
        </p:txBody>
      </p:sp>
      <p:sp>
        <p:nvSpPr>
          <p:cNvPr id="69" name="Rectangle 68"/>
          <p:cNvSpPr/>
          <p:nvPr userDrawn="1"/>
        </p:nvSpPr>
        <p:spPr>
          <a:xfrm>
            <a:off x="-1400157" y="5907321"/>
            <a:ext cx="968470" cy="8292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220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25</a:t>
            </a:r>
          </a:p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96</a:t>
            </a:r>
          </a:p>
        </p:txBody>
      </p:sp>
      <p:sp>
        <p:nvSpPr>
          <p:cNvPr id="70" name="Rectangle 69"/>
          <p:cNvSpPr/>
          <p:nvPr userDrawn="1"/>
        </p:nvSpPr>
        <p:spPr>
          <a:xfrm>
            <a:off x="-2438400" y="34256"/>
            <a:ext cx="968470" cy="8292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000" b="1" dirty="0">
                <a:solidFill>
                  <a:schemeClr val="bg1"/>
                </a:solidFill>
              </a:rPr>
              <a:t>SMB</a:t>
            </a:r>
          </a:p>
        </p:txBody>
      </p:sp>
      <p:sp>
        <p:nvSpPr>
          <p:cNvPr id="71" name="Rectangle 70"/>
          <p:cNvSpPr/>
          <p:nvPr userDrawn="1"/>
        </p:nvSpPr>
        <p:spPr>
          <a:xfrm>
            <a:off x="-2438400" y="4928476"/>
            <a:ext cx="968470" cy="82923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Consumer</a:t>
            </a:r>
          </a:p>
        </p:txBody>
      </p:sp>
      <p:sp>
        <p:nvSpPr>
          <p:cNvPr id="72" name="Rectangle 71"/>
          <p:cNvSpPr/>
          <p:nvPr userDrawn="1"/>
        </p:nvSpPr>
        <p:spPr>
          <a:xfrm>
            <a:off x="-2438400" y="1991944"/>
            <a:ext cx="968470" cy="8292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Carrier</a:t>
            </a:r>
          </a:p>
        </p:txBody>
      </p:sp>
      <p:sp>
        <p:nvSpPr>
          <p:cNvPr id="73" name="Rectangle 72"/>
          <p:cNvSpPr/>
          <p:nvPr userDrawn="1"/>
        </p:nvSpPr>
        <p:spPr>
          <a:xfrm>
            <a:off x="-2438400" y="5907321"/>
            <a:ext cx="968470" cy="8292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Line for Graphs</a:t>
            </a:r>
          </a:p>
        </p:txBody>
      </p:sp>
      <p:sp>
        <p:nvSpPr>
          <p:cNvPr id="74" name="Rectangle 73"/>
          <p:cNvSpPr/>
          <p:nvPr userDrawn="1"/>
        </p:nvSpPr>
        <p:spPr>
          <a:xfrm>
            <a:off x="-2438400" y="3949632"/>
            <a:ext cx="968470" cy="82923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Clr>
                <a:schemeClr val="tx1"/>
              </a:buClr>
              <a:buSzPct val="100000"/>
            </a:pPr>
            <a:r>
              <a:rPr lang="en-US" sz="1100" b="1" dirty="0">
                <a:solidFill>
                  <a:schemeClr val="bg1"/>
                </a:solidFill>
              </a:rPr>
              <a:t>Lingo</a:t>
            </a:r>
            <a:r>
              <a:rPr lang="en-US" sz="1100" b="1" baseline="0" dirty="0">
                <a:solidFill>
                  <a:schemeClr val="bg1"/>
                </a:solidFill>
              </a:rPr>
              <a:t> / Impact</a:t>
            </a:r>
            <a:endParaRPr lang="en-US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540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84" r:id="rId3"/>
    <p:sldLayoutId id="2147483689" r:id="rId4"/>
    <p:sldLayoutId id="2147483688" r:id="rId5"/>
    <p:sldLayoutId id="2147483691" r:id="rId6"/>
    <p:sldLayoutId id="2147483666" r:id="rId7"/>
    <p:sldLayoutId id="2147483667" r:id="rId8"/>
    <p:sldLayoutId id="2147483668" r:id="rId9"/>
    <p:sldLayoutId id="2147483670" r:id="rId10"/>
    <p:sldLayoutId id="2147483671" r:id="rId11"/>
    <p:sldLayoutId id="2147483676" r:id="rId12"/>
    <p:sldLayoutId id="2147483692" r:id="rId13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2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SzPct val="100000"/>
        <a:buFont typeface="Wingdings 2" panose="05020102010507070707" pitchFamily="18" charset="2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114300" indent="-118872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ClrTx/>
        <a:buSzPct val="100000"/>
        <a:buFont typeface="Wingdings 2" panose="05020102010507070707" pitchFamily="18" charset="2"/>
        <a:buChar char="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237744" indent="-115888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ClrTx/>
        <a:buSzPct val="100000"/>
        <a:buFont typeface="Wingdings 2" panose="05020102010507070707" pitchFamily="18" charset="2"/>
        <a:buChar char="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356616" indent="-1143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ClrTx/>
        <a:buSzPct val="100000"/>
        <a:buFont typeface="Wingdings 2" panose="05020102010507070707" pitchFamily="18" charset="2"/>
        <a:buChar char="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75488" indent="-1143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ClrTx/>
        <a:buSzPct val="100000"/>
        <a:buFont typeface="Wingdings 2" panose="05020102010507070707" pitchFamily="18" charset="2"/>
        <a:buChar char="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94360" indent="-1143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ClrTx/>
        <a:buSzPct val="100000"/>
        <a:buFont typeface="Wingdings 2" panose="05020102010507070707" pitchFamily="18" charset="2"/>
        <a:buChar char="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3232" indent="-1143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ClrTx/>
        <a:buSzPct val="100000"/>
        <a:buFont typeface="Wingdings 2" panose="05020102010507070707" pitchFamily="18" charset="2"/>
        <a:buChar char="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832104" indent="-114300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ClrTx/>
        <a:buSzPct val="100000"/>
        <a:buFont typeface="Wingdings 2" panose="05020102010507070707" pitchFamily="18" charset="2"/>
        <a:buChar char="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950976" indent="-112713" algn="l" defTabSz="914400" rtl="0" eaLnBrk="1" latinLnBrk="0" hangingPunct="1">
        <a:lnSpc>
          <a:spcPct val="114000"/>
        </a:lnSpc>
        <a:spcBef>
          <a:spcPts val="0"/>
        </a:spcBef>
        <a:spcAft>
          <a:spcPts val="600"/>
        </a:spcAft>
        <a:buClrTx/>
        <a:buSzPct val="100000"/>
        <a:buFont typeface="Wingdings 2" panose="05020102010507070707" pitchFamily="18" charset="2"/>
        <a:buChar char="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3">
          <p15:clr>
            <a:srgbClr val="F26B43"/>
          </p15:clr>
        </p15:guide>
        <p15:guide id="3" pos="1446">
          <p15:clr>
            <a:srgbClr val="F26B43"/>
          </p15:clr>
        </p15:guide>
        <p15:guide id="4" pos="2880">
          <p15:clr>
            <a:srgbClr val="F26B43"/>
          </p15:clr>
        </p15:guide>
        <p15:guide id="5" pos="4313">
          <p15:clr>
            <a:srgbClr val="F26B43"/>
          </p15:clr>
        </p15:guide>
        <p15:guide id="6" orient="horz" pos="2886">
          <p15:clr>
            <a:srgbClr val="F26B43"/>
          </p15:clr>
        </p15:guide>
        <p15:guide id="7" pos="160">
          <p15:clr>
            <a:srgbClr val="F26B43"/>
          </p15:clr>
        </p15:guide>
        <p15:guide id="8" pos="5597">
          <p15:clr>
            <a:srgbClr val="F26B43"/>
          </p15:clr>
        </p15:guide>
        <p15:guide id="9" orient="horz" pos="156">
          <p15:clr>
            <a:srgbClr val="F26B43"/>
          </p15:clr>
        </p15:guide>
        <p15:guide id="10" orient="horz" pos="41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John.lachance@Lingo.com" TargetMode="Externa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/>
              <a:t>Cloud Phone</a:t>
            </a:r>
            <a:endParaRPr lang="en-AU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1708" y="5752781"/>
            <a:ext cx="8032669" cy="307809"/>
          </a:xfrm>
        </p:spPr>
        <p:txBody>
          <a:bodyPr/>
          <a:lstStyle/>
          <a:p>
            <a:r>
              <a:rPr lang="en-AU" sz="2000" dirty="0"/>
              <a:t>Information Presentation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3C80F2C-B316-6212-DE7E-E690F8621FD6}"/>
              </a:ext>
            </a:extLst>
          </p:cNvPr>
          <p:cNvSpPr txBox="1"/>
          <p:nvPr/>
        </p:nvSpPr>
        <p:spPr>
          <a:xfrm>
            <a:off x="6096000" y="3810000"/>
            <a:ext cx="25908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>
              <a:lnSpc>
                <a:spcPct val="114000"/>
              </a:lnSpc>
              <a:spcAft>
                <a:spcPts val="600"/>
              </a:spcAft>
              <a:buSzPct val="100000"/>
            </a:pPr>
            <a:endParaRPr lang="en-US" sz="1100" dirty="0" err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A733D5F-E02A-0C5B-E854-8549D8B8EF86}"/>
              </a:ext>
            </a:extLst>
          </p:cNvPr>
          <p:cNvSpPr/>
          <p:nvPr/>
        </p:nvSpPr>
        <p:spPr>
          <a:xfrm>
            <a:off x="4545724" y="5306426"/>
            <a:ext cx="4572000" cy="877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700" b="1" dirty="0"/>
              <a:t>John Lachance, Sr. Solutions Engineer </a:t>
            </a:r>
            <a:r>
              <a:rPr lang="en-US" sz="1700" b="1" dirty="0">
                <a:solidFill>
                  <a:schemeClr val="accent5">
                    <a:lumMod val="75000"/>
                  </a:schemeClr>
                </a:solidFill>
                <a:hlinkClick r:id="rId2"/>
              </a:rPr>
              <a:t>John.Lachance@Lingo.com</a:t>
            </a:r>
            <a:endParaRPr lang="en-US" sz="1700" b="1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defRPr/>
            </a:pPr>
            <a:r>
              <a:rPr lang="en-US" sz="1700" b="1" dirty="0">
                <a:solidFill>
                  <a:schemeClr val="accent5">
                    <a:lumMod val="75000"/>
                  </a:schemeClr>
                </a:solidFill>
              </a:rPr>
              <a:t>Austin, TX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>
            <a:extLst>
              <a:ext uri="{FF2B5EF4-FFF2-40B4-BE49-F238E27FC236}">
                <a16:creationId xmlns:a16="http://schemas.microsoft.com/office/drawing/2014/main" id="{0DE197AD-26CC-F32C-D265-28AF334B558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50825" y="-63500"/>
            <a:ext cx="8640763" cy="811213"/>
          </a:xfrm>
        </p:spPr>
        <p:txBody>
          <a:bodyPr/>
          <a:lstStyle/>
          <a:p>
            <a:r>
              <a:rPr lang="en-US" altLang="en-US"/>
              <a:t>Call Center Solution</a:t>
            </a:r>
          </a:p>
        </p:txBody>
      </p:sp>
      <p:sp>
        <p:nvSpPr>
          <p:cNvPr id="33795" name="Slide Number Placeholder 2">
            <a:extLst>
              <a:ext uri="{FF2B5EF4-FFF2-40B4-BE49-F238E27FC236}">
                <a16:creationId xmlns:a16="http://schemas.microsoft.com/office/drawing/2014/main" id="{6F253DDA-C7F6-F671-6996-1280B087167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A2116BF-BFA1-429F-B95C-BB903784416B}" type="slidenum">
              <a:rPr lang="en-US" altLang="en-US" smtClean="0"/>
              <a:pPr>
                <a:defRPr/>
              </a:pPr>
              <a:t>10</a:t>
            </a:fld>
            <a:endParaRPr lang="en-US" altLang="en-US">
              <a:solidFill>
                <a:schemeClr val="tx2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4722A7-A4EC-9CA0-E184-A679C2B80F09}"/>
              </a:ext>
            </a:extLst>
          </p:cNvPr>
          <p:cNvSpPr txBox="1"/>
          <p:nvPr/>
        </p:nvSpPr>
        <p:spPr>
          <a:xfrm>
            <a:off x="250825" y="1219200"/>
            <a:ext cx="7826375" cy="2895600"/>
          </a:xfrm>
          <a:prstGeom prst="rect">
            <a:avLst/>
          </a:prstGeom>
        </p:spPr>
        <p:txBody>
          <a:bodyPr lIns="0" tIns="0" rIns="0" bIns="0"/>
          <a:lstStyle/>
          <a:p>
            <a:pPr>
              <a:buClr>
                <a:srgbClr val="E36F1E"/>
              </a:buClr>
              <a:defRPr/>
            </a:pPr>
            <a:r>
              <a:rPr lang="en-US" sz="2000" b="1" u="sng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ll Center Solution is a great fit for SMBs and SMEs who have:</a:t>
            </a:r>
          </a:p>
          <a:p>
            <a:pPr>
              <a:buClr>
                <a:srgbClr val="E36F1E"/>
              </a:buClr>
              <a:defRPr/>
            </a:pPr>
            <a:endParaRPr lang="en-US" sz="2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y number of agents who managing inbound calls, either part-time or full-time</a:t>
            </a:r>
          </a:p>
          <a:p>
            <a:pPr>
              <a:buClr>
                <a:srgbClr val="E36F1E"/>
              </a:buClr>
              <a:defRPr/>
            </a:pPr>
            <a:endParaRPr lang="en-US" sz="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Inbound or Outbound voice only business need</a:t>
            </a:r>
          </a:p>
          <a:p>
            <a:pPr>
              <a:buClr>
                <a:srgbClr val="E36F1E"/>
              </a:buClr>
              <a:defRPr/>
            </a:pPr>
            <a:endParaRPr lang="en-US" sz="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ple queue and inbound telephone numbers</a:t>
            </a:r>
          </a:p>
          <a:p>
            <a:pPr>
              <a:buClr>
                <a:srgbClr val="E36F1E"/>
              </a:buClr>
              <a:defRPr/>
            </a:pPr>
            <a:endParaRPr lang="en-US" sz="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ingle to a few call center locations</a:t>
            </a:r>
          </a:p>
          <a:p>
            <a:pPr>
              <a:buClr>
                <a:srgbClr val="E36F1E"/>
              </a:buClr>
              <a:defRPr/>
            </a:pPr>
            <a:endParaRPr lang="en-US" sz="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 CRM/ERP integration requirements</a:t>
            </a:r>
          </a:p>
          <a:p>
            <a:pPr>
              <a:lnSpc>
                <a:spcPct val="114000"/>
              </a:lnSpc>
              <a:spcAft>
                <a:spcPts val="600"/>
              </a:spcAft>
              <a:buSzPct val="100000"/>
              <a:defRPr/>
            </a:pPr>
            <a:endParaRPr lang="en-US" sz="1100" dirty="0" err="1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CD1C658F-F5D1-9D06-C9CE-584013DAFAC1}"/>
              </a:ext>
            </a:extLst>
          </p:cNvPr>
          <p:cNvGraphicFramePr/>
          <p:nvPr/>
        </p:nvGraphicFramePr>
        <p:xfrm>
          <a:off x="4399874" y="3299821"/>
          <a:ext cx="4490884" cy="25732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Content Placeholder 19">
            <a:extLst>
              <a:ext uri="{FF2B5EF4-FFF2-40B4-BE49-F238E27FC236}">
                <a16:creationId xmlns:a16="http://schemas.microsoft.com/office/drawing/2014/main" id="{79DF7B39-9AB0-1CFD-13D0-4DAC8DCBE16C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38200" y="4586288"/>
            <a:ext cx="2676525" cy="20145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BC885013-BA5A-45EA-08ED-8DC770CDC80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>
            <a:extLst>
              <a:ext uri="{FF2B5EF4-FFF2-40B4-BE49-F238E27FC236}">
                <a16:creationId xmlns:a16="http://schemas.microsoft.com/office/drawing/2014/main" id="{0C342749-CE1D-3292-D6C2-16693418E9C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50825" y="-63500"/>
            <a:ext cx="8640763" cy="811213"/>
          </a:xfrm>
        </p:spPr>
        <p:txBody>
          <a:bodyPr/>
          <a:lstStyle/>
          <a:p>
            <a:r>
              <a:rPr lang="en-US" altLang="en-US"/>
              <a:t>Feature Summary</a:t>
            </a:r>
          </a:p>
        </p:txBody>
      </p:sp>
      <p:sp>
        <p:nvSpPr>
          <p:cNvPr id="34819" name="Slide Number Placeholder 2">
            <a:extLst>
              <a:ext uri="{FF2B5EF4-FFF2-40B4-BE49-F238E27FC236}">
                <a16:creationId xmlns:a16="http://schemas.microsoft.com/office/drawing/2014/main" id="{695B81EB-1EE1-1A01-EC76-52716660883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A2116BF-BFA1-429F-B95C-BB903784416B}" type="slidenum">
              <a:rPr lang="en-US" altLang="en-US" smtClean="0"/>
              <a:pPr>
                <a:defRPr/>
              </a:pPr>
              <a:t>11</a:t>
            </a:fld>
            <a:endParaRPr lang="en-US" altLang="en-US">
              <a:solidFill>
                <a:schemeClr val="tx2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18B2092-96F1-E4CA-64BD-B383B11B6CFF}"/>
              </a:ext>
            </a:extLst>
          </p:cNvPr>
          <p:cNvSpPr txBox="1">
            <a:spLocks/>
          </p:cNvSpPr>
          <p:nvPr/>
        </p:nvSpPr>
        <p:spPr>
          <a:xfrm>
            <a:off x="157163" y="1903413"/>
            <a:ext cx="8875712" cy="4351337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0" indent="-117475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6538" indent="-115888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600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4663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94360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3232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32104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0976" indent="-112713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“Skills-based” Routing</a:t>
            </a:r>
          </a:p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le Queueing and Callback Option/Multiple Queue Assignment</a:t>
            </a:r>
          </a:p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oteling aka “Hot Desking”</a:t>
            </a:r>
          </a:p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stomized Audio Greetings and Announcement</a:t>
            </a:r>
          </a:p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all Center Agent and Call Center Supervisor Portal View</a:t>
            </a:r>
          </a:p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al-Time Statistics and Reporting</a:t>
            </a:r>
          </a:p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uto Answer and Threshold Alerts</a:t>
            </a:r>
          </a:p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isten, Whisper and Barge-In for Supervisor</a:t>
            </a:r>
          </a:p>
          <a:p>
            <a:pPr marL="342900" indent="-34290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2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ueue Call Recording and Optional User-Level Call Recording</a:t>
            </a:r>
          </a:p>
          <a:p>
            <a:pPr>
              <a:buClr>
                <a:srgbClr val="E36F1E"/>
              </a:buClr>
              <a:defRPr/>
            </a:pPr>
            <a:endParaRPr lang="en-US" sz="2400" dirty="0">
              <a:solidFill>
                <a:srgbClr val="FF0000"/>
              </a:solidFill>
            </a:endParaRPr>
          </a:p>
        </p:txBody>
      </p:sp>
      <p:pic>
        <p:nvPicPr>
          <p:cNvPr id="5" name="Content Placeholder 19">
            <a:extLst>
              <a:ext uri="{FF2B5EF4-FFF2-40B4-BE49-F238E27FC236}">
                <a16:creationId xmlns:a16="http://schemas.microsoft.com/office/drawing/2014/main" id="{FAD1F90F-8464-AEA2-A45B-F4F915F50BA1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74535" y="883921"/>
            <a:ext cx="2133600" cy="16049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FB61432D-CB0E-6037-2224-19164AE12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>
            <a:extLst>
              <a:ext uri="{FF2B5EF4-FFF2-40B4-BE49-F238E27FC236}">
                <a16:creationId xmlns:a16="http://schemas.microsoft.com/office/drawing/2014/main" id="{750DAFFF-5884-F0E5-E4D0-0D52F291E9F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50825" y="-63500"/>
            <a:ext cx="8640763" cy="811213"/>
          </a:xfrm>
        </p:spPr>
        <p:txBody>
          <a:bodyPr/>
          <a:lstStyle/>
          <a:p>
            <a:r>
              <a:rPr lang="en-US" altLang="en-US"/>
              <a:t>Call Center Advantages</a:t>
            </a:r>
          </a:p>
        </p:txBody>
      </p:sp>
      <p:sp>
        <p:nvSpPr>
          <p:cNvPr id="35843" name="Slide Number Placeholder 2">
            <a:extLst>
              <a:ext uri="{FF2B5EF4-FFF2-40B4-BE49-F238E27FC236}">
                <a16:creationId xmlns:a16="http://schemas.microsoft.com/office/drawing/2014/main" id="{C4299F32-BCF1-24B2-213B-2858A1051B1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A2116BF-BFA1-429F-B95C-BB903784416B}" type="slidenum">
              <a:rPr lang="en-US" altLang="en-US" smtClean="0"/>
              <a:pPr>
                <a:defRPr/>
              </a:pPr>
              <a:t>12</a:t>
            </a:fld>
            <a:endParaRPr lang="en-US" altLang="en-US">
              <a:solidFill>
                <a:schemeClr val="tx2"/>
              </a:solidFill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7923F70-36E1-A963-8DC5-CEC2264A75E5}"/>
              </a:ext>
            </a:extLst>
          </p:cNvPr>
          <p:cNvSpPr txBox="1">
            <a:spLocks/>
          </p:cNvSpPr>
          <p:nvPr/>
        </p:nvSpPr>
        <p:spPr>
          <a:xfrm>
            <a:off x="1295400" y="1190625"/>
            <a:ext cx="6553200" cy="343217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0" indent="-117475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6538" indent="-115888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600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4663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94360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3232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32104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0976" indent="-112713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liability and experience</a:t>
            </a: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saster recovery</a:t>
            </a: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ame great features of standard Hosted offering</a:t>
            </a: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lexibility and scalability</a:t>
            </a: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lti location support</a:t>
            </a: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able </a:t>
            </a:r>
            <a:r>
              <a:rPr lang="en-US" sz="2000" b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netsapiens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® platform</a:t>
            </a: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b based portal for *</a:t>
            </a:r>
            <a:r>
              <a:rPr lang="en-US" sz="20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gent and *Supervisor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ogin</a:t>
            </a:r>
          </a:p>
          <a:p>
            <a:pPr marL="171450" indent="-171450">
              <a:buClr>
                <a:srgbClr val="E36F1E"/>
              </a:buClr>
              <a:buFont typeface="Arial" panose="020B0604020202020204" pitchFamily="34" charset="0"/>
              <a:buChar char="•"/>
              <a:defRPr/>
            </a:pP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werful reporting and analytical tools</a:t>
            </a:r>
          </a:p>
          <a:p>
            <a:pPr>
              <a:buClr>
                <a:srgbClr val="E36F1E"/>
              </a:buClr>
              <a:defRPr/>
            </a:pP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5" name="Content Placeholder 19">
            <a:extLst>
              <a:ext uri="{FF2B5EF4-FFF2-40B4-BE49-F238E27FC236}">
                <a16:creationId xmlns:a16="http://schemas.microsoft.com/office/drawing/2014/main" id="{00AC3703-1FD5-C1B0-9508-C47EB9F502A8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95400" y="4829175"/>
            <a:ext cx="2514600" cy="1892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A4D522D3-1ABD-42AD-B534-34E7007D91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>
            <a:extLst>
              <a:ext uri="{FF2B5EF4-FFF2-40B4-BE49-F238E27FC236}">
                <a16:creationId xmlns:a16="http://schemas.microsoft.com/office/drawing/2014/main" id="{56317083-F2F6-388B-98FE-4954F879506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19100" y="4800600"/>
            <a:ext cx="8305800" cy="627063"/>
          </a:xfrm>
        </p:spPr>
        <p:txBody>
          <a:bodyPr/>
          <a:lstStyle/>
          <a:p>
            <a:pPr eaLnBrk="1" hangingPunct="1"/>
            <a:r>
              <a:rPr lang="en-US" altLang="en-US" dirty="0"/>
              <a:t>Thank You</a:t>
            </a:r>
          </a:p>
        </p:txBody>
      </p:sp>
      <p:sp>
        <p:nvSpPr>
          <p:cNvPr id="30723" name="Text Placeholder 2">
            <a:extLst>
              <a:ext uri="{FF2B5EF4-FFF2-40B4-BE49-F238E27FC236}">
                <a16:creationId xmlns:a16="http://schemas.microsoft.com/office/drawing/2014/main" id="{746B3E81-AC31-B2A6-D4C8-F29BA463232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1340" y="5537391"/>
            <a:ext cx="5689600" cy="284163"/>
          </a:xfrm>
        </p:spPr>
        <p:txBody>
          <a:bodyPr/>
          <a:lstStyle/>
          <a:p>
            <a:pPr>
              <a:defRPr/>
            </a:pPr>
            <a:r>
              <a:rPr lang="en-US" sz="2000" b="1" dirty="0"/>
              <a:t>Charles Creel – Regional Channel Manager</a:t>
            </a:r>
          </a:p>
          <a:p>
            <a:pPr eaLnBrk="1" hangingPunct="1">
              <a:defRPr/>
            </a:pPr>
            <a:endParaRPr lang="en-US" alt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BE11786-A4CE-52F0-A79C-03D716096386}"/>
              </a:ext>
            </a:extLst>
          </p:cNvPr>
          <p:cNvSpPr txBox="1">
            <a:spLocks noChangeArrowheads="1"/>
          </p:cNvSpPr>
          <p:nvPr/>
        </p:nvSpPr>
        <p:spPr>
          <a:xfrm>
            <a:off x="548640" y="5969382"/>
            <a:ext cx="5689600" cy="284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None/>
              <a:defRPr sz="14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b="1" dirty="0"/>
              <a:t>John Lachance – Senior Sales Engineer</a:t>
            </a:r>
          </a:p>
          <a:p>
            <a:pPr>
              <a:defRPr/>
            </a:pPr>
            <a:endParaRPr lang="en-US" altLang="en-US" dirty="0"/>
          </a:p>
        </p:txBody>
      </p:sp>
      <p:pic>
        <p:nvPicPr>
          <p:cNvPr id="3" name="Picture 2" descr="Logo, company name&#10;&#10;Description automatically generated">
            <a:extLst>
              <a:ext uri="{FF2B5EF4-FFF2-40B4-BE49-F238E27FC236}">
                <a16:creationId xmlns:a16="http://schemas.microsoft.com/office/drawing/2014/main" id="{5CBC16AA-20A3-D344-CFCE-3208BE42D7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389" t="4159" r="7669" b="4326"/>
          <a:stretch/>
        </p:blipFill>
        <p:spPr>
          <a:xfrm>
            <a:off x="7010400" y="4137772"/>
            <a:ext cx="2057400" cy="887506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C332E42-3A90-3C67-CDF8-3DEB5BFC6F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0825" y="1271588"/>
            <a:ext cx="5843588" cy="5075237"/>
          </a:xfrm>
        </p:spPr>
        <p:txBody>
          <a:bodyPr rtlCol="0"/>
          <a:lstStyle/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High-Definition Voice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Auto Attendant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Simultaneous Ring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Mobility - iOS and Android App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Remote Office / Home Office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Voicemail-to-Email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Music on Hold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Online Web Portal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3-way Conference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Personalized Greetings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Corporate Directory</a:t>
            </a:r>
          </a:p>
          <a:p>
            <a:pPr marL="285750" indent="-285750" eaLnBrk="1" fontAlgn="auto" hangingPunct="1">
              <a:spcBef>
                <a:spcPts val="0"/>
              </a:spcBef>
              <a:buClr>
                <a:srgbClr val="323232"/>
              </a:buClr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323232"/>
                </a:solidFill>
              </a:rPr>
              <a:t>Flexibility &amp; Scalability</a:t>
            </a:r>
          </a:p>
          <a:p>
            <a:pPr eaLnBrk="1" fontAlgn="auto" hangingPunct="1">
              <a:spcBef>
                <a:spcPts val="0"/>
              </a:spcBef>
              <a:defRPr/>
            </a:pPr>
            <a:endParaRPr lang="en-US" dirty="0"/>
          </a:p>
        </p:txBody>
      </p:sp>
      <p:sp>
        <p:nvSpPr>
          <p:cNvPr id="24579" name="Title 2">
            <a:extLst>
              <a:ext uri="{FF2B5EF4-FFF2-40B4-BE49-F238E27FC236}">
                <a16:creationId xmlns:a16="http://schemas.microsoft.com/office/drawing/2014/main" id="{37CF3780-4C58-668A-1841-A5AC8F5A0E4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/>
              <a:t>Cloud Phone System</a:t>
            </a:r>
          </a:p>
        </p:txBody>
      </p:sp>
      <p:sp>
        <p:nvSpPr>
          <p:cNvPr id="24580" name="Slide Number Placeholder 3">
            <a:extLst>
              <a:ext uri="{FF2B5EF4-FFF2-40B4-BE49-F238E27FC236}">
                <a16:creationId xmlns:a16="http://schemas.microsoft.com/office/drawing/2014/main" id="{1546930B-ACAE-D784-902E-7B2BF145C52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1B04B3B-47BE-413B-A83B-30C7DE2DB21B}" type="slidenum">
              <a:rPr lang="en-US" altLang="en-US" smtClean="0"/>
              <a:pPr>
                <a:defRPr/>
              </a:pPr>
              <a:t>2</a:t>
            </a:fld>
            <a:endParaRPr lang="en-US" altLang="en-US">
              <a:solidFill>
                <a:schemeClr val="tx2"/>
              </a:solidFill>
            </a:endParaRPr>
          </a:p>
        </p:txBody>
      </p:sp>
      <p:pic>
        <p:nvPicPr>
          <p:cNvPr id="24581" name="Picture 7" descr="A picture containing electronics, monitor, remote, black&#10;&#10;Description automatically generated">
            <a:extLst>
              <a:ext uri="{FF2B5EF4-FFF2-40B4-BE49-F238E27FC236}">
                <a16:creationId xmlns:a16="http://schemas.microsoft.com/office/drawing/2014/main" id="{CF92A6AC-7D9D-46EF-168E-C8A8608267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23"/>
          <a:stretch>
            <a:fillRect/>
          </a:stretch>
        </p:blipFill>
        <p:spPr bwMode="auto">
          <a:xfrm>
            <a:off x="4419600" y="1371600"/>
            <a:ext cx="3733800" cy="350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1070BAF4-6104-4740-3E60-46A6ECD964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Number Placeholder 3">
            <a:extLst>
              <a:ext uri="{FF2B5EF4-FFF2-40B4-BE49-F238E27FC236}">
                <a16:creationId xmlns:a16="http://schemas.microsoft.com/office/drawing/2014/main" id="{395382EE-3010-8929-9DA2-E6ED187C15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1B04B3B-47BE-413B-A83B-30C7DE2DB21B}" type="slidenum">
              <a:rPr lang="en-US" altLang="en-US" smtClean="0"/>
              <a:pPr>
                <a:defRPr/>
              </a:pPr>
              <a:t>3</a:t>
            </a:fld>
            <a:endParaRPr lang="en-US" altLang="en-US">
              <a:solidFill>
                <a:schemeClr val="tx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CFC735-8C10-44F1-92AF-8FD34AF36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31763"/>
            <a:ext cx="8050213" cy="1325562"/>
          </a:xfrm>
        </p:spPr>
        <p:txBody>
          <a:bodyPr/>
          <a:lstStyle/>
          <a:p>
            <a:pPr algn="ctr">
              <a:defRPr/>
            </a:pP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w Polycom Models!</a:t>
            </a:r>
          </a:p>
        </p:txBody>
      </p:sp>
      <p:sp>
        <p:nvSpPr>
          <p:cNvPr id="25604" name="Date Placeholder 2">
            <a:extLst>
              <a:ext uri="{FF2B5EF4-FFF2-40B4-BE49-F238E27FC236}">
                <a16:creationId xmlns:a16="http://schemas.microsoft.com/office/drawing/2014/main" id="{1030FF1F-79A4-2B75-97D8-C9096E6223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000" y="6122988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7475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36538" indent="-115888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55600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474663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318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3890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462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034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SzTx/>
              <a:buFontTx/>
              <a:buNone/>
            </a:pPr>
            <a:r>
              <a:rPr lang="en-US" altLang="en-US" sz="900">
                <a:solidFill>
                  <a:schemeClr val="tx2"/>
                </a:solidFill>
              </a:rPr>
              <a:t>4/9/18</a:t>
            </a:r>
          </a:p>
        </p:txBody>
      </p:sp>
      <p:sp>
        <p:nvSpPr>
          <p:cNvPr id="25605" name="Slide Number Placeholder 4">
            <a:extLst>
              <a:ext uri="{FF2B5EF4-FFF2-40B4-BE49-F238E27FC236}">
                <a16:creationId xmlns:a16="http://schemas.microsoft.com/office/drawing/2014/main" id="{C104DDBC-F07B-90B4-BDE1-4C0EB0AB48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3400" y="6122988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7475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36538" indent="-115888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55600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474663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318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3890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462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034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SzTx/>
              <a:buFontTx/>
              <a:buNone/>
            </a:pPr>
            <a:endParaRPr lang="en-US" altLang="en-US" sz="1800"/>
          </a:p>
        </p:txBody>
      </p:sp>
      <p:pic>
        <p:nvPicPr>
          <p:cNvPr id="25607" name="Picture 2" descr="New Arrivals polycom vvx 150">
            <a:extLst>
              <a:ext uri="{FF2B5EF4-FFF2-40B4-BE49-F238E27FC236}">
                <a16:creationId xmlns:a16="http://schemas.microsoft.com/office/drawing/2014/main" id="{30ED10B7-8518-F702-239B-4144C5BA92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75" y="1590675"/>
            <a:ext cx="2562225" cy="2255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8" name="Picture 9">
            <a:extLst>
              <a:ext uri="{FF2B5EF4-FFF2-40B4-BE49-F238E27FC236}">
                <a16:creationId xmlns:a16="http://schemas.microsoft.com/office/drawing/2014/main" id="{3A798B24-C630-1908-96D1-5DB106937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75" y="3862388"/>
            <a:ext cx="24384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9" name="Picture 10">
            <a:extLst>
              <a:ext uri="{FF2B5EF4-FFF2-40B4-BE49-F238E27FC236}">
                <a16:creationId xmlns:a16="http://schemas.microsoft.com/office/drawing/2014/main" id="{1977C557-40F0-6147-58C2-FECA8BDF14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0800" y="1477963"/>
            <a:ext cx="2268538" cy="241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0" name="Picture 11">
            <a:extLst>
              <a:ext uri="{FF2B5EF4-FFF2-40B4-BE49-F238E27FC236}">
                <a16:creationId xmlns:a16="http://schemas.microsoft.com/office/drawing/2014/main" id="{CD0FC685-FDB6-0A2F-8201-F9E325550B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7950" y="3846513"/>
            <a:ext cx="2211388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2ED01762-4672-FBCD-ABEF-8C817DC0C7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81000" y="4321175"/>
            <a:ext cx="5181600" cy="24272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2 Line Appearanc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2.5” Monochrome Display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PoE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Dedicated RJ-9 headset 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Busy Lamp Fiel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HD Audio/Entry Leve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Two-port 10/100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10/100 Base-TX across LAN and PC ports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111E32A4-CA17-EFED-18A0-BE4ABBC32904}"/>
              </a:ext>
            </a:extLst>
          </p:cNvPr>
          <p:cNvSpPr txBox="1">
            <a:spLocks/>
          </p:cNvSpPr>
          <p:nvPr/>
        </p:nvSpPr>
        <p:spPr>
          <a:xfrm>
            <a:off x="4953000" y="4157663"/>
            <a:ext cx="5181600" cy="24272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0" indent="-117475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6538" indent="-115888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600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4663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94360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3232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32104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0976" indent="-112713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4 Line Appearanc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2.8” Color LC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PoE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Dedicated RJ-9 headset 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Busy Lamp Fiel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USB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HD Audio/Entry Leve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Acoustic Clarity Technology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Two-port 10/100/1000 Ethernet switch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57817189-783C-F507-2BEB-0CC8537C60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Number Placeholder 3">
            <a:extLst>
              <a:ext uri="{FF2B5EF4-FFF2-40B4-BE49-F238E27FC236}">
                <a16:creationId xmlns:a16="http://schemas.microsoft.com/office/drawing/2014/main" id="{BE670E18-DB2B-35B3-A860-9CEB508EDFC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1B04B3B-47BE-413B-A83B-30C7DE2DB21B}" type="slidenum">
              <a:rPr lang="en-US" altLang="en-US" smtClean="0"/>
              <a:pPr>
                <a:defRPr/>
              </a:pPr>
              <a:t>4</a:t>
            </a:fld>
            <a:endParaRPr lang="en-US" altLang="en-US">
              <a:solidFill>
                <a:schemeClr val="tx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6243CD-E997-947F-9400-4F9FCC2C95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225" y="365125"/>
            <a:ext cx="7361238" cy="757238"/>
          </a:xfrm>
        </p:spPr>
        <p:txBody>
          <a:bodyPr/>
          <a:lstStyle/>
          <a:p>
            <a:pPr algn="ctr">
              <a:defRPr/>
            </a:pP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w Polycom Models!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8DD00016-9612-CD8D-8F83-51B67918DE3D}"/>
              </a:ext>
            </a:extLst>
          </p:cNvPr>
          <p:cNvSpPr txBox="1">
            <a:spLocks/>
          </p:cNvSpPr>
          <p:nvPr/>
        </p:nvSpPr>
        <p:spPr>
          <a:xfrm>
            <a:off x="5010150" y="4325938"/>
            <a:ext cx="5181600" cy="24272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0" indent="-117475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6538" indent="-115888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600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4663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94360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3232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32104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0976" indent="-112713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12 Line Appearanc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4.3” Color LC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PoE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USB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Dedicated RJ-9 headset 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Busy Lamp Fiel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HD Audio/High Performance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Acoustic Clarity Technology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Two-port Gigabit Ethernet switch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0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10/100/1000 Base-TX across LAN and PC ports</a:t>
            </a:r>
          </a:p>
        </p:txBody>
      </p:sp>
      <p:sp>
        <p:nvSpPr>
          <p:cNvPr id="26629" name="Date Placeholder 2">
            <a:extLst>
              <a:ext uri="{FF2B5EF4-FFF2-40B4-BE49-F238E27FC236}">
                <a16:creationId xmlns:a16="http://schemas.microsoft.com/office/drawing/2014/main" id="{B9E87DD7-E2E7-812E-06A0-2AB567565B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8475" y="6075363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7475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36538" indent="-115888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55600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474663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318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3890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462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034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SzTx/>
              <a:buFontTx/>
              <a:buNone/>
            </a:pPr>
            <a:r>
              <a:rPr lang="en-US" altLang="en-US" sz="900">
                <a:solidFill>
                  <a:schemeClr val="tx2"/>
                </a:solidFill>
              </a:rPr>
              <a:t>4/9/18</a:t>
            </a:r>
          </a:p>
        </p:txBody>
      </p:sp>
      <p:sp>
        <p:nvSpPr>
          <p:cNvPr id="26630" name="Slide Number Placeholder 4">
            <a:extLst>
              <a:ext uri="{FF2B5EF4-FFF2-40B4-BE49-F238E27FC236}">
                <a16:creationId xmlns:a16="http://schemas.microsoft.com/office/drawing/2014/main" id="{08B043E9-CE2F-183A-255E-575B7B559F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70875" y="6075363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7475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36538" indent="-115888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55600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474663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318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3890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462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034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SzTx/>
              <a:buFontTx/>
              <a:buNone/>
            </a:pPr>
            <a:endParaRPr lang="en-US" altLang="en-US" sz="1800"/>
          </a:p>
        </p:txBody>
      </p:sp>
      <p:pic>
        <p:nvPicPr>
          <p:cNvPr id="26632" name="Picture 9">
            <a:extLst>
              <a:ext uri="{FF2B5EF4-FFF2-40B4-BE49-F238E27FC236}">
                <a16:creationId xmlns:a16="http://schemas.microsoft.com/office/drawing/2014/main" id="{8476A338-7F68-3F33-92C9-7B8018D840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219200"/>
            <a:ext cx="2609850" cy="279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3" name="Picture 10">
            <a:extLst>
              <a:ext uri="{FF2B5EF4-FFF2-40B4-BE49-F238E27FC236}">
                <a16:creationId xmlns:a16="http://schemas.microsoft.com/office/drawing/2014/main" id="{AFEB5E66-7694-50A5-A985-5111811E82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88" y="3910013"/>
            <a:ext cx="2427287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4" name="Picture 11">
            <a:extLst>
              <a:ext uri="{FF2B5EF4-FFF2-40B4-BE49-F238E27FC236}">
                <a16:creationId xmlns:a16="http://schemas.microsoft.com/office/drawing/2014/main" id="{9C42BD23-3B80-2CE8-9001-CA2F33F107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863" y="1219200"/>
            <a:ext cx="2984500" cy="269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5" name="Picture 12">
            <a:extLst>
              <a:ext uri="{FF2B5EF4-FFF2-40B4-BE49-F238E27FC236}">
                <a16:creationId xmlns:a16="http://schemas.microsoft.com/office/drawing/2014/main" id="{CC0F4A31-C107-A5B0-7388-2CF94706F9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863" y="3910013"/>
            <a:ext cx="2357437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3C4E4279-96A6-FF7C-EEBA-42144E47C41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4213" y="4233863"/>
            <a:ext cx="5181600" cy="435133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6 Line Appearanc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3.5” Color LC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PoE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Dedicated RJ-9 headset 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Busy Lamp Fiel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HD Audio/Mid Range Performance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Acoustic Clarity Technology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Two-port Gigabit Ethernet switch</a:t>
            </a:r>
          </a:p>
          <a:p>
            <a:pPr>
              <a:lnSpc>
                <a:spcPct val="100000"/>
              </a:lnSpc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10/100/1000 Base-TX across LAN and PC port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</a:endParaRP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D60A37D2-81DD-C0CC-A067-C1F194E279C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Number Placeholder 3">
            <a:extLst>
              <a:ext uri="{FF2B5EF4-FFF2-40B4-BE49-F238E27FC236}">
                <a16:creationId xmlns:a16="http://schemas.microsoft.com/office/drawing/2014/main" id="{395382EE-3010-8929-9DA2-E6ED187C15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51B04B3B-47BE-413B-A83B-30C7DE2DB21B}" type="slidenum">
              <a:rPr lang="en-US" altLang="en-US" smtClean="0"/>
              <a:pPr>
                <a:defRPr/>
              </a:pPr>
              <a:t>5</a:t>
            </a:fld>
            <a:endParaRPr lang="en-US" altLang="en-US">
              <a:solidFill>
                <a:schemeClr val="tx2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3CFC735-8C10-44F1-92AF-8FD34AF36B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31763"/>
            <a:ext cx="8050213" cy="1325562"/>
          </a:xfrm>
        </p:spPr>
        <p:txBody>
          <a:bodyPr/>
          <a:lstStyle/>
          <a:p>
            <a:pPr algn="ctr">
              <a:defRPr/>
            </a:pPr>
            <a:r>
              <a:rPr lang="en-US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w Yealink Models!</a:t>
            </a:r>
          </a:p>
        </p:txBody>
      </p:sp>
      <p:sp>
        <p:nvSpPr>
          <p:cNvPr id="25604" name="Date Placeholder 2">
            <a:extLst>
              <a:ext uri="{FF2B5EF4-FFF2-40B4-BE49-F238E27FC236}">
                <a16:creationId xmlns:a16="http://schemas.microsoft.com/office/drawing/2014/main" id="{1030FF1F-79A4-2B75-97D8-C9096E6223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1000" y="6122988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7475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36538" indent="-115888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55600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474663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318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3890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462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034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SzTx/>
              <a:buFontTx/>
              <a:buNone/>
            </a:pPr>
            <a:endParaRPr lang="en-US" altLang="en-US" sz="900" dirty="0">
              <a:solidFill>
                <a:schemeClr val="tx2"/>
              </a:solidFill>
            </a:endParaRPr>
          </a:p>
        </p:txBody>
      </p:sp>
      <p:sp>
        <p:nvSpPr>
          <p:cNvPr id="25605" name="Slide Number Placeholder 4">
            <a:extLst>
              <a:ext uri="{FF2B5EF4-FFF2-40B4-BE49-F238E27FC236}">
                <a16:creationId xmlns:a16="http://schemas.microsoft.com/office/drawing/2014/main" id="{C104DDBC-F07B-90B4-BDE1-4C0EB0AB48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3400" y="6122988"/>
            <a:ext cx="27432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7475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36538" indent="-115888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355600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474663" indent="-114300">
              <a:lnSpc>
                <a:spcPct val="114000"/>
              </a:lnSpc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9318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3890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8462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303463" indent="-11430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SzTx/>
              <a:buFontTx/>
              <a:buNone/>
            </a:pPr>
            <a:endParaRPr lang="en-US" altLang="en-US" sz="180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2ED01762-4672-FBCD-ABEF-8C817DC0C7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85800" y="4198390"/>
            <a:ext cx="5181600" cy="242728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12 Line Appearanc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3.7 Inch Monochrome Display/Backli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PoE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Dedicated RJ-9 headset 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Busy Lamp Fiel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HD Audio/Entry Leve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Dual-port 10/100/1000</a:t>
            </a:r>
          </a:p>
        </p:txBody>
      </p:sp>
      <p:sp>
        <p:nvSpPr>
          <p:cNvPr id="14" name="Content Placeholder 9">
            <a:extLst>
              <a:ext uri="{FF2B5EF4-FFF2-40B4-BE49-F238E27FC236}">
                <a16:creationId xmlns:a16="http://schemas.microsoft.com/office/drawing/2014/main" id="{111E32A4-CA17-EFED-18A0-BE4ABBC32904}"/>
              </a:ext>
            </a:extLst>
          </p:cNvPr>
          <p:cNvSpPr txBox="1">
            <a:spLocks/>
          </p:cNvSpPr>
          <p:nvPr/>
        </p:nvSpPr>
        <p:spPr>
          <a:xfrm>
            <a:off x="4953000" y="4157663"/>
            <a:ext cx="5181600" cy="24272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4300" indent="-117475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6538" indent="-115888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5600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4663" indent="-114300" algn="l" rtl="0" eaLnBrk="0" fontAlgn="base" hangingPunct="0">
              <a:lnSpc>
                <a:spcPct val="114000"/>
              </a:lnSpc>
              <a:spcBef>
                <a:spcPct val="0"/>
              </a:spcBef>
              <a:spcAft>
                <a:spcPts val="600"/>
              </a:spcAft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94360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3232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32104" indent="-114300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50976" indent="-112713" algn="l" defTabSz="914400" rtl="0" eaLnBrk="1" latinLnBrk="0" hangingPunct="1">
              <a:lnSpc>
                <a:spcPct val="114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Wingdings 2" panose="05020102010507070707" pitchFamily="18" charset="2"/>
              <a:buChar char="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16 Line Appearances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4.3 Inch Color LCD/Backli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PoE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Dedicated RJ-9 headset 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Busy Lamp Field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USB Support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HD Audio/Entry Level</a:t>
            </a: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E36F1E"/>
              </a:buClr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cs typeface="Arial" pitchFamily="34" charset="0"/>
              </a:rPr>
              <a:t>Two-port 10/100/1000 Ethernet switc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1DD2D4-72CD-38C5-34CF-99318CA20F2B}"/>
              </a:ext>
            </a:extLst>
          </p:cNvPr>
          <p:cNvSpPr txBox="1"/>
          <p:nvPr/>
        </p:nvSpPr>
        <p:spPr>
          <a:xfrm>
            <a:off x="914400" y="3859761"/>
            <a:ext cx="2286000" cy="32543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SzPct val="100000"/>
            </a:pPr>
            <a:r>
              <a:rPr lang="en-US" sz="2000" dirty="0"/>
              <a:t>Yealink T5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778809F-1B7D-C310-E61B-DE12537C8F66}"/>
              </a:ext>
            </a:extLst>
          </p:cNvPr>
          <p:cNvSpPr txBox="1"/>
          <p:nvPr/>
        </p:nvSpPr>
        <p:spPr>
          <a:xfrm>
            <a:off x="5108083" y="3862388"/>
            <a:ext cx="2286000" cy="3254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14000"/>
              </a:lnSpc>
              <a:spcAft>
                <a:spcPts val="600"/>
              </a:spcAft>
              <a:buSzPct val="100000"/>
            </a:pPr>
            <a:r>
              <a:rPr lang="en-US" sz="2000" dirty="0"/>
              <a:t>Yealink T5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E2C7A6-70B0-AB49-BBBC-E8094A2ACA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8200" y="1983971"/>
            <a:ext cx="4478338" cy="15261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040911-A9BE-29B8-B972-74080B9720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007" y="1983971"/>
            <a:ext cx="4209284" cy="1526100"/>
          </a:xfrm>
          <a:prstGeom prst="rect">
            <a:avLst/>
          </a:prstGeom>
        </p:spPr>
      </p:pic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37E12170-6E8C-A497-87BD-E9D04412A7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998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>
            <a:extLst>
              <a:ext uri="{FF2B5EF4-FFF2-40B4-BE49-F238E27FC236}">
                <a16:creationId xmlns:a16="http://schemas.microsoft.com/office/drawing/2014/main" id="{8932BC22-1190-9BA1-C194-16E84471AD8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50825" y="-63500"/>
            <a:ext cx="8640763" cy="811213"/>
          </a:xfrm>
        </p:spPr>
        <p:txBody>
          <a:bodyPr/>
          <a:lstStyle/>
          <a:p>
            <a:r>
              <a:rPr lang="en-US" altLang="en-US"/>
              <a:t>Lingo Connect Online Portal</a:t>
            </a:r>
          </a:p>
        </p:txBody>
      </p:sp>
      <p:sp>
        <p:nvSpPr>
          <p:cNvPr id="28675" name="Slide Number Placeholder 2">
            <a:extLst>
              <a:ext uri="{FF2B5EF4-FFF2-40B4-BE49-F238E27FC236}">
                <a16:creationId xmlns:a16="http://schemas.microsoft.com/office/drawing/2014/main" id="{89287260-BA6F-4172-1C06-31463AE071A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A2116BF-BFA1-429F-B95C-BB903784416B}" type="slidenum">
              <a:rPr lang="en-US" altLang="en-US" smtClean="0"/>
              <a:pPr>
                <a:defRPr/>
              </a:pPr>
              <a:t>6</a:t>
            </a:fld>
            <a:endParaRPr lang="en-US" altLang="en-US">
              <a:solidFill>
                <a:schemeClr val="tx2"/>
              </a:solidFill>
            </a:endParaRPr>
          </a:p>
        </p:txBody>
      </p:sp>
      <p:pic>
        <p:nvPicPr>
          <p:cNvPr id="28676" name="Picture 3">
            <a:extLst>
              <a:ext uri="{FF2B5EF4-FFF2-40B4-BE49-F238E27FC236}">
                <a16:creationId xmlns:a16="http://schemas.microsoft.com/office/drawing/2014/main" id="{BF323E57-B210-A80F-C1AE-0C59CE3B48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5" y="1111250"/>
            <a:ext cx="7181850" cy="568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4CB27764-7945-180D-263B-8B4D86081D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082130"/>
            <a:ext cx="1487999" cy="595795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>
            <a:extLst>
              <a:ext uri="{FF2B5EF4-FFF2-40B4-BE49-F238E27FC236}">
                <a16:creationId xmlns:a16="http://schemas.microsoft.com/office/drawing/2014/main" id="{8932BC22-1190-9BA1-C194-16E84471AD8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50825" y="-63500"/>
            <a:ext cx="8640763" cy="811213"/>
          </a:xfrm>
        </p:spPr>
        <p:txBody>
          <a:bodyPr/>
          <a:lstStyle/>
          <a:p>
            <a:r>
              <a:rPr lang="en-US" altLang="en-US"/>
              <a:t>Lingo Connect Online Portal</a:t>
            </a:r>
          </a:p>
        </p:txBody>
      </p:sp>
      <p:sp>
        <p:nvSpPr>
          <p:cNvPr id="28675" name="Slide Number Placeholder 2">
            <a:extLst>
              <a:ext uri="{FF2B5EF4-FFF2-40B4-BE49-F238E27FC236}">
                <a16:creationId xmlns:a16="http://schemas.microsoft.com/office/drawing/2014/main" id="{89287260-BA6F-4172-1C06-31463AE071A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A2116BF-BFA1-429F-B95C-BB903784416B}" type="slidenum">
              <a:rPr lang="en-US" altLang="en-US" smtClean="0"/>
              <a:pPr>
                <a:defRPr/>
              </a:pPr>
              <a:t>7</a:t>
            </a:fld>
            <a:endParaRPr lang="en-US" altLang="en-US">
              <a:solidFill>
                <a:schemeClr val="tx2"/>
              </a:solidFill>
            </a:endParaRPr>
          </a:p>
        </p:txBody>
      </p:sp>
      <p:pic>
        <p:nvPicPr>
          <p:cNvPr id="28676" name="Picture 3">
            <a:extLst>
              <a:ext uri="{FF2B5EF4-FFF2-40B4-BE49-F238E27FC236}">
                <a16:creationId xmlns:a16="http://schemas.microsoft.com/office/drawing/2014/main" id="{BF323E57-B210-A80F-C1AE-0C59CE3B48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925" y="1111250"/>
            <a:ext cx="7181850" cy="568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B54806A4-24B9-A4ED-C67A-D7AD6AF70E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082130"/>
            <a:ext cx="1487999" cy="59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549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>
            <a:extLst>
              <a:ext uri="{FF2B5EF4-FFF2-40B4-BE49-F238E27FC236}">
                <a16:creationId xmlns:a16="http://schemas.microsoft.com/office/drawing/2014/main" id="{08FE9846-70BC-76A1-70C3-7177D4D3340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50825" y="-63500"/>
            <a:ext cx="8640763" cy="811213"/>
          </a:xfrm>
        </p:spPr>
        <p:txBody>
          <a:bodyPr/>
          <a:lstStyle/>
          <a:p>
            <a:r>
              <a:rPr lang="en-US" altLang="en-US"/>
              <a:t>Snap Mobile Smartphone App!</a:t>
            </a:r>
          </a:p>
        </p:txBody>
      </p:sp>
      <p:sp>
        <p:nvSpPr>
          <p:cNvPr id="29699" name="Slide Number Placeholder 2">
            <a:extLst>
              <a:ext uri="{FF2B5EF4-FFF2-40B4-BE49-F238E27FC236}">
                <a16:creationId xmlns:a16="http://schemas.microsoft.com/office/drawing/2014/main" id="{862E8EDF-09AB-A552-D96E-4DFB09FCFC7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A2116BF-BFA1-429F-B95C-BB903784416B}" type="slidenum">
              <a:rPr lang="en-US" altLang="en-US" smtClean="0"/>
              <a:pPr>
                <a:defRPr/>
              </a:pPr>
              <a:t>8</a:t>
            </a:fld>
            <a:endParaRPr lang="en-US" altLang="en-US">
              <a:solidFill>
                <a:schemeClr val="tx2"/>
              </a:solidFill>
            </a:endParaRPr>
          </a:p>
        </p:txBody>
      </p:sp>
      <p:pic>
        <p:nvPicPr>
          <p:cNvPr id="29700" name="Picture 2" descr="38f78d47-92e1-4cfc-a97b-17b42983a700@namprd14">
            <a:extLst>
              <a:ext uri="{FF2B5EF4-FFF2-40B4-BE49-F238E27FC236}">
                <a16:creationId xmlns:a16="http://schemas.microsoft.com/office/drawing/2014/main" id="{FBB43BCC-C06A-C7A6-2A43-F2347B957F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275" y="974725"/>
            <a:ext cx="2803525" cy="5014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7514B14-AF5B-2BEC-140E-CDB00E98CF95}"/>
              </a:ext>
            </a:extLst>
          </p:cNvPr>
          <p:cNvSpPr txBox="1"/>
          <p:nvPr/>
        </p:nvSpPr>
        <p:spPr>
          <a:xfrm>
            <a:off x="5008563" y="1371600"/>
            <a:ext cx="3879850" cy="4114800"/>
          </a:xfrm>
          <a:prstGeom prst="rect">
            <a:avLst/>
          </a:prstGeom>
        </p:spPr>
        <p:txBody>
          <a:bodyPr lIns="0" tIns="0" rIns="0" bIns="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New “native” app for smart phon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b="1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Easy to download: Apple IOS “App Store, Android Google Play”</a:t>
            </a:r>
          </a:p>
          <a:p>
            <a:pPr>
              <a:defRPr/>
            </a:pPr>
            <a:endParaRPr lang="en-US" sz="800" b="1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Imports Domain Member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b="1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Pulls from existing Contact Lis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b="1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Voice Mail /Text Translatio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b="1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Private Messaging between Domain Members / SMS coming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b="1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Create Greetings/Better Portal Int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sz="800" b="1" dirty="0"/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b="1" dirty="0"/>
              <a:t>More…</a:t>
            </a:r>
          </a:p>
          <a:p>
            <a:pPr>
              <a:lnSpc>
                <a:spcPct val="114000"/>
              </a:lnSpc>
              <a:spcAft>
                <a:spcPts val="600"/>
              </a:spcAft>
              <a:buSzPct val="100000"/>
              <a:defRPr/>
            </a:pPr>
            <a:endParaRPr lang="en-US" dirty="0" err="1"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1C640A27-A5BB-605B-86BD-4D85F43FA8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Number Placeholder 2">
            <a:extLst>
              <a:ext uri="{FF2B5EF4-FFF2-40B4-BE49-F238E27FC236}">
                <a16:creationId xmlns:a16="http://schemas.microsoft.com/office/drawing/2014/main" id="{66308834-C079-56F5-A42A-F5E34279260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888413" y="6623050"/>
            <a:ext cx="2381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A2116BF-BFA1-429F-B95C-BB903784416B}" type="slidenum">
              <a:rPr lang="en-US" altLang="en-US" smtClean="0"/>
              <a:pPr>
                <a:defRPr/>
              </a:pPr>
              <a:t>9</a:t>
            </a:fld>
            <a:endParaRPr lang="en-US" altLang="en-US">
              <a:solidFill>
                <a:schemeClr val="tx2"/>
              </a:solidFill>
            </a:endParaRPr>
          </a:p>
        </p:txBody>
      </p:sp>
      <p:pic>
        <p:nvPicPr>
          <p:cNvPr id="30723" name="Picture 4">
            <a:extLst>
              <a:ext uri="{FF2B5EF4-FFF2-40B4-BE49-F238E27FC236}">
                <a16:creationId xmlns:a16="http://schemas.microsoft.com/office/drawing/2014/main" id="{843859AD-755E-A453-362D-B06FD5C873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49250" y="0"/>
            <a:ext cx="98425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7FF1771F-8C5E-8422-2716-57F275EB38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800" y="241300"/>
            <a:ext cx="1442138" cy="577432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CIQLASTID" val="17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_SUBTITLE" val="Y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_SUBTITLE" val="Y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_SUBTITLE" val="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_SUBTITLE" val="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SERHIDDEN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_LINE" val="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" val="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L_FOOTER_LOGO" val="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AYSCALE" val="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H_LINE" val="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HAPTER_SUBTITLE" val="Y"/>
</p:tagLst>
</file>

<file path=ppt/theme/theme1.xml><?xml version="1.0" encoding="utf-8"?>
<a:theme xmlns:a="http://schemas.openxmlformats.org/drawingml/2006/main" name="PowerPresent">
  <a:themeElements>
    <a:clrScheme name="Lingo">
      <a:dk1>
        <a:srgbClr val="323232"/>
      </a:dk1>
      <a:lt1>
        <a:sysClr val="window" lastClr="FFFFFF"/>
      </a:lt1>
      <a:dk2>
        <a:srgbClr val="B6B6B6"/>
      </a:dk2>
      <a:lt2>
        <a:srgbClr val="DC1960"/>
      </a:lt2>
      <a:accent1>
        <a:srgbClr val="04539A"/>
      </a:accent1>
      <a:accent2>
        <a:srgbClr val="8AC542"/>
      </a:accent2>
      <a:accent3>
        <a:srgbClr val="B6B6B6"/>
      </a:accent3>
      <a:accent4>
        <a:srgbClr val="323232"/>
      </a:accent4>
      <a:accent5>
        <a:srgbClr val="4684BC"/>
      </a:accent5>
      <a:accent6>
        <a:srgbClr val="F89A31"/>
      </a:accent6>
      <a:hlink>
        <a:srgbClr val="F89A31"/>
      </a:hlink>
      <a:folHlink>
        <a:srgbClr val="8AC542"/>
      </a:folHlink>
    </a:clrScheme>
    <a:fontScheme name="Present 20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>
          <a:noFill/>
        </a:ln>
      </a:spPr>
      <a:bodyPr rot="0" spcFirstLastPara="0" vertOverflow="overflow" horzOverflow="overflow" vert="horz" wrap="square" lIns="91440" tIns="91440" rIns="91440" bIns="9144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spcAft>
            <a:spcPts val="600"/>
          </a:spcAft>
          <a:buClr>
            <a:schemeClr val="tx1"/>
          </a:buClr>
          <a:buSzPct val="100000"/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lnSpc>
            <a:spcPct val="114000"/>
          </a:lnSpc>
          <a:spcAft>
            <a:spcPts val="600"/>
          </a:spcAft>
          <a:buSzPct val="100000"/>
          <a:defRPr sz="1100" dirty="0" err="1" smtClean="0"/>
        </a:defPPr>
      </a:lstStyle>
    </a:txDef>
  </a:objectDefaults>
  <a:extraClrSchemeLst/>
  <a:custClrLst>
    <a:custClr name="Sky Blue">
      <a:srgbClr val="C7DBE7"/>
    </a:custClr>
    <a:custClr name="Dark Teal">
      <a:srgbClr val="436E71"/>
    </a:custClr>
    <a:custClr name="Dark Green">
      <a:srgbClr val="5E8C3D"/>
    </a:custClr>
    <a:custClr name="Red">
      <a:srgbClr val="A8412F"/>
    </a:custClr>
    <a:custClr name="Light Green">
      <a:srgbClr val="88B868"/>
    </a:custClr>
    <a:custClr name="Light Red">
      <a:srgbClr val="DA5C47"/>
    </a:custClr>
    <a:custClr name="Brown">
      <a:srgbClr val="BA651C"/>
    </a:custClr>
    <a:custClr name="Orange">
      <a:srgbClr val="F28F3E"/>
    </a:custClr>
    <a:custClr name="Yellow">
      <a:srgbClr val="E5B00E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Houlihan Lokey 2015 Template-Stripped" id="{1E59E553-DBF7-450B-8875-3EDAA28D2128}" vid="{4F015B6A-E27A-44E3-A781-A32F050E242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resent</Template>
  <TotalTime>15876</TotalTime>
  <Words>519</Words>
  <Application>Microsoft Office PowerPoint</Application>
  <PresentationFormat>Letter Paper (8.5x11 in)</PresentationFormat>
  <Paragraphs>143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Wingdings</vt:lpstr>
      <vt:lpstr>Wingdings 2</vt:lpstr>
      <vt:lpstr>PowerPresent</vt:lpstr>
      <vt:lpstr>think-cell Slide</vt:lpstr>
      <vt:lpstr>PowerPoint Presentation</vt:lpstr>
      <vt:lpstr>Cloud Phone System</vt:lpstr>
      <vt:lpstr>New Polycom Models!</vt:lpstr>
      <vt:lpstr>New Polycom Models!</vt:lpstr>
      <vt:lpstr>New Yealink Models!</vt:lpstr>
      <vt:lpstr>Lingo Connect Online Portal</vt:lpstr>
      <vt:lpstr>Lingo Connect Online Portal</vt:lpstr>
      <vt:lpstr>Snap Mobile Smartphone App!</vt:lpstr>
      <vt:lpstr>PowerPoint Presentation</vt:lpstr>
      <vt:lpstr>Call Center Solution</vt:lpstr>
      <vt:lpstr>Feature Summary</vt:lpstr>
      <vt:lpstr>Call Center Advantages</vt:lpstr>
      <vt:lpstr>Thank You</vt:lpstr>
    </vt:vector>
  </TitlesOfParts>
  <Company>Houlihan Lok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eth, Kasey</dc:creator>
  <cp:lastModifiedBy>Greg Corwin</cp:lastModifiedBy>
  <cp:revision>1183</cp:revision>
  <cp:lastPrinted>2019-03-12T22:32:57Z</cp:lastPrinted>
  <dcterms:created xsi:type="dcterms:W3CDTF">2019-01-17T19:03:55Z</dcterms:created>
  <dcterms:modified xsi:type="dcterms:W3CDTF">2023-04-14T17:10:12Z</dcterms:modified>
</cp:coreProperties>
</file>